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291" r:id="rId5"/>
    <p:sldId id="504" r:id="rId6"/>
    <p:sldId id="506" r:id="rId7"/>
    <p:sldId id="524" r:id="rId8"/>
    <p:sldId id="507" r:id="rId9"/>
    <p:sldId id="508" r:id="rId10"/>
    <p:sldId id="509" r:id="rId11"/>
    <p:sldId id="514" r:id="rId12"/>
    <p:sldId id="515" r:id="rId13"/>
    <p:sldId id="517" r:id="rId14"/>
    <p:sldId id="516" r:id="rId15"/>
    <p:sldId id="518" r:id="rId16"/>
    <p:sldId id="519" r:id="rId17"/>
    <p:sldId id="520" r:id="rId18"/>
    <p:sldId id="521" r:id="rId19"/>
    <p:sldId id="522" r:id="rId20"/>
    <p:sldId id="523" r:id="rId21"/>
    <p:sldId id="513" r:id="rId22"/>
    <p:sldId id="525" r:id="rId23"/>
    <p:sldId id="527" r:id="rId24"/>
    <p:sldId id="511" r:id="rId25"/>
    <p:sldId id="510" r:id="rId26"/>
    <p:sldId id="528" r:id="rId27"/>
    <p:sldId id="529" r:id="rId28"/>
    <p:sldId id="526" r:id="rId29"/>
    <p:sldId id="502" r:id="rId30"/>
    <p:sldId id="282" r:id="rId31"/>
    <p:sldId id="503" r:id="rId32"/>
    <p:sldId id="505" r:id="rId33"/>
  </p:sldIdLst>
  <p:sldSz cx="12192000" cy="6858000"/>
  <p:notesSz cx="6858000" cy="9144000"/>
  <p:embeddedFontLst>
    <p:embeddedFont>
      <p:font typeface="EON Brix Sans" panose="020B0500000000000000" pitchFamily="34" charset="77"/>
      <p:regular r:id="rId36"/>
      <p:bold r:id="rId37"/>
      <p:italic r:id="rId38"/>
      <p:boldItalic r:id="rId39"/>
    </p:embeddedFont>
    <p:embeddedFont>
      <p:font typeface="EON Office Head" pitchFamily="2" charset="77"/>
      <p:regular r:id="rId40"/>
    </p:embeddedFont>
  </p:embeddedFontLst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2DE63D5-997A-4646-A377-4702673A728D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351" autoAdjust="0"/>
    <p:restoredTop sz="95356"/>
  </p:normalViewPr>
  <p:slideViewPr>
    <p:cSldViewPr snapToGrid="0">
      <p:cViewPr varScale="1">
        <p:scale>
          <a:sx n="138" d="100"/>
          <a:sy n="138" d="100"/>
        </p:scale>
        <p:origin x="34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91" d="100"/>
          <a:sy n="191" d="100"/>
        </p:scale>
        <p:origin x="1506" y="1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4.fntdata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1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3.fntdata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EF15546-CF98-0ECD-3C30-AF7ADFEA53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582542-B544-EC8B-8809-B734C38584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62F7A-CE52-49BC-9E83-8800BF7B5834}" type="datetimeFigureOut">
              <a:rPr lang="de-DE" smtClean="0"/>
              <a:t>07.10.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70DEA8-22DC-FE60-6D02-1EAA794313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D74975-BE5F-023C-CBB6-73F33355B8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89E97C-5547-4CEC-9D2D-236DAC97C59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78693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7T15:06:11.30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4 712 24575,'12'-1'0,"1"-1"0,1-1 0,0 0 0,2 0 0,4 0 0,2 1 0,1 0 0,-5 1 0,-4 1 0,-3 1 0,2-1 0,1 1 0,2-2 0,2 0 0,2 0 0,2-1 0,1 2 0,2 0 0,2 0 0,-3 1 0,-2 0 0,-2 1 0,0 0 0,2 0 0,1 1 0,0 0 0,0-1 0,-2 1 0,0-2 0,0 3 0,4 0 0,3 0 0,1 0 0,1-1 0,-2-1 0,-2 0 0,2 0 0,-4 0 0,1 1 0,-2 0 0,-2 1 0,-2-1 0,-1 0 0,1-1 0,2 1 0,3-1 0,2 0 0,2 0 0,3 1 0,-4-2 0,-1 1 0,-2 0 0,-3-1 0,0 1 0,3 0 0,0 0 0,0 0 0,5 1 0,3-1 0,1 1 0,5 0 0,3-1 0,4 1 0,-1-1 0,-3-1 0,-4 0 0,-5-1 0,0 0 0,0-1 0,-1 1 0,1-2 0,4 1 0,1-2 0,5 0 0,3-1 0,6 1 0,1 1 0,3 1 0,-2-2 0,-3 0 0,4 0 0,2 0 0,-1 0 0,-6 1 0,-4 0 0,-5 0 0,1-1 0,2-4 0,3-7 0,-1-2 0,-3-1 0,-7-1 0,-10 2 0,-4-1 0,-5 0 0,-4 2 0,-4-1 0,-2 1 0,-2 1 0,-1 0 0,-1-3 0,-2-1 0,-3-4 0,-2-2 0,-2 0 0,-1 0 0,0 2 0,-1 2 0,-1 0 0,-4-2 0,-3-1 0,-3-2 0,-1 3 0,-2 1 0,1 4 0,2 1 0,1 2 0,0 0 0,-4-2 0,-3-2 0,0 1 0,-1 1 0,-1 2 0,-2 1 0,0 1 0,1 2 0,1 1 0,4 1 0,0 0 0,3 0 0,-2 2 0,-4 1 0,0 1 0,-4 0 0,3 0 0,-1-1 0,-2 1 0,2-1 0,-1 1 0,0 2 0,0 0 0,0 2 0,0 0 0,1 1 0,1-1 0,1 1 0,3 0 0,1 0 0,-2 1 0,0 0 0,-5 0 0,-1 1 0,-2-2 0,-1 1 0,4-1 0,1 0 0,2-1 0,0-1 0,-6 0 0,-6 1 0,-10-1 0,-5 1 0,-4 0 0,-4 0 0,5 0 0,0 1 0,2 0 0,4 0 0,-5 2 0,-3 1 0,2-1 0,2 2 0,5-1 0,6 1 0,1 1 0,0 1 0,2 0 0,5 1 0,0 2 0,5 1 0,-2 1 0,-4 1 0,1 0 0,0-1 0,4 1 0,4-2 0,4 0 0,2 0 0,1 0 0,-1 2 0,1-1 0,2 0 0,4 1 0,1 2 0,1 1 0,1 0 0,2 0 0,-1 2 0,0 3 0,-2 4 0,-1 5 0,2 0 0,2-3 0,4-3 0,3-4 0,1-3 0,2-4 0,1-1 0,-1-2 0,1-2 0,-1 0 0,0 0 0,1 0 0,1 0 0,1-1 0,0 0 0,0 1 0,1-1 0,-1 1 0,0-1 0,2 1 0,0 0 0,1 0 0,0 1 0,-1-2 0,1 1 0,2 1 0,0 0 0,3-1 0,-2-1 0,1-3 0,0 1 0,-1-1 0,0 2 0,0 1 0,0-1 0,1 0 0,0-1 0,3 1 0,2 0 0,0-1 0,-1-1 0,-5 0 0,-3-1 0,-3-1 0,-2-1 0,-2-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03ADE0E1-2DAE-45F5-87B7-DB9E3D8054DE}" type="datetimeFigureOut">
              <a:rPr lang="de-DE" smtClean="0"/>
              <a:pPr/>
              <a:t>07.10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334F4A3F-64EC-49EC-B822-7C30E9B55BB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99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FD07C-FF3C-F5FE-F199-80445D752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C3393B-C2C9-04F4-F5B1-13A5B87A4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BD4709-284F-F9E1-7A32-3D38F40ED8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456261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4FEDFD-FD91-7326-F503-BB7F09945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1CC2AC-E205-E4A2-3499-9C5B9112E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AF80A9-A889-2BD7-6308-9B8E2E7CF9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0966669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F9D089-4A24-5CA0-486D-64FA55AC9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4207ED-4886-3B6C-3B35-ED7F512584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99446A-09E9-B5D4-E8A2-23CA6D4678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654640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E2534F-DAA8-00EB-05A5-8246CF9535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1C5D95-117D-3410-F76B-A2B93BA156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BA36C8-A9D3-20B3-0C74-22B93811CB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872342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EB2269-E620-B801-3002-0F904F3BB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DD0B4B-9F7A-649B-7AAB-4BDE8AF609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0AAC92-E8F4-7EB1-28B9-DA4ACF4151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6580368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D6C9D-3283-335D-A2E3-85CB88496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DDC6D-D457-3F2C-D112-F8EA74D678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AB706-FD3D-41B3-31C7-D2C01CFD5F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0482500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811DF2-2864-E746-0287-1501E23AC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58AE6A-284B-33BC-0533-F2DBE70743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F2A54-C013-1414-1079-FD6C8EA405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41317421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C86F5D-AA04-0B8F-B34D-C71C68166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CE270D-B84C-A6A0-1D18-89ADF716EF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0DCFDB-A769-3B4B-6454-D8A8B6C948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7050675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818BAD-D06F-691B-BDD4-1AC1C809A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FA15B2-9EF1-0473-735E-423697936C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170D56-FFE9-B016-9054-80BA985D47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9095500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232D7-70FF-822E-2693-EBDFA45F3C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BC4FDD-A411-07F1-BC59-0B40235F7F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E07373-E12A-4879-C1A6-44AA3CA389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9015972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E426EF-093D-893A-781C-377C33EFA7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8F371C-3A09-D509-808D-713CD37467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F8C72B-FAB7-B98C-EC59-903E759BC9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698601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F86F77-BC26-77A3-7662-761F8FE41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A53440-E07D-033A-F194-614F6136ED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A069B8-9C66-B96D-57EF-36942B1DAC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6324077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426-3FC5-077D-1F81-29DC1ABD57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F3F6B9-7D7D-1F1F-A54B-BB178AD0D4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D69368-6961-A22E-1BF7-1A7A6223AF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0312231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FDE308-AE09-566F-C23A-CE3D7EE58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D3F66A-CCB9-0F7C-ACC6-1CEA9117B8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89D117-57CE-19D5-DC5C-0DA829F35E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1270474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D8FC5-4164-9BD8-46E1-406293297A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F61B16-56F5-392E-6EDF-3CFAE0607D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6A4FD3-52CA-9F82-5FC6-438A773E58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42576624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5A302-D9CA-90B7-BAC3-1741405836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134C05-3AC7-02E4-6A7A-44FF286969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E5F271-8904-AE52-8BFE-9AE10AB019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2496942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A0FB3-53EF-B567-974F-0B21213E2B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856ED4-A900-071A-6979-8F8BA9667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C9C9DC-19B4-6CCF-A532-8FFEA89FF3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0359164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0F3AB-FB6F-39D7-26A7-E8AE73E795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6F0F7A-2AC8-9A11-2D02-3421869689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114E7E-ECA8-F71C-483F-C4588759CE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8705145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C7A8E-840F-2A86-B6AB-59D0854D5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B17C23-2BDB-AF7D-0F26-9A4867438D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6EF7BD-A4F4-0492-1F0D-D1A1C875DC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8175325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01EC84-3937-A3D1-A825-C8D7694C85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A814EB-924E-7BED-1E99-A3E45B6240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B9427D-C6B6-46A3-D6A2-3D3DABB9C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368612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E5896-3EC3-F8DD-AFF1-1A7B388F4C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B87C0B-E0CA-0A04-9F8C-E3EDE73889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117BCD-2F34-767D-F2BD-65EA280767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0698135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245C1-6C2D-E56F-EE94-0DA1CF47F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61EB90-C92E-9071-A784-D433A38961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865F9D-72E9-9907-5858-69B4451689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9177057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FC729-B9AC-E247-6288-395D2BC5DD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AEBDF8-DE5A-3A2A-7AA1-C6B5660667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6C4A43-24AA-109B-716D-2446E6F565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6827760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6459F1-CB28-189A-E92C-590D88B861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86BD73-63B1-B18C-9F16-7119C409B1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D1ECF8-4DD4-7F2A-0DF6-B7704DC08D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805785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9FDD6E-37B5-680E-3824-9E5CAE90B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BD0B9F-8516-E322-A59D-A7EE15B87F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AA9599-6390-010F-F4C1-824F50BC13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456403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sv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mastertitelforma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8" name="E.ON Logo">
            <a:extLst>
              <a:ext uri="{FF2B5EF4-FFF2-40B4-BE49-F238E27FC236}">
                <a16:creationId xmlns:a16="http://schemas.microsoft.com/office/drawing/2014/main" id="{9F1F22E5-C4EF-53C3-8ADA-A36265609262}"/>
              </a:ext>
            </a:extLst>
          </p:cNvPr>
          <p:cNvSpPr/>
          <p:nvPr userDrawn="1"/>
        </p:nvSpPr>
        <p:spPr>
          <a:xfrm>
            <a:off x="9732026" y="5799031"/>
            <a:ext cx="1980549" cy="546206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rgbClr val="F21C0A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375" y="6050859"/>
            <a:ext cx="5616575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07.10.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299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800A6A20-E873-F140-AC79-822BDF254684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Image">
            <a:extLst>
              <a:ext uri="{FF2B5EF4-FFF2-40B4-BE49-F238E27FC236}">
                <a16:creationId xmlns:a16="http://schemas.microsoft.com/office/drawing/2014/main" id="{C8A0EA80-6C56-3462-7962-5C9554E7B4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574" y="1"/>
            <a:ext cx="5915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5436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5436613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A3DA913-F435-7661-FD22-506A0DB96E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56503FA3-8982-0240-96EB-0717438A640D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526211"/>
            <a:ext cx="3504000" cy="138499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Image">
            <a:extLst>
              <a:ext uri="{FF2B5EF4-FFF2-40B4-BE49-F238E27FC236}">
                <a16:creationId xmlns:a16="http://schemas.microsoft.com/office/drawing/2014/main" id="{16C5AC2D-3DAF-BE99-F11D-E9E48F025B4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4574" y="1"/>
            <a:ext cx="7847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3528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0AC4D8E-41CB-97B9-6D6F-3F32AFA594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27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35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A92F7AF8-436B-7E4C-B79C-9AFED39A31DF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807198"/>
            <a:ext cx="6132514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 err="1"/>
              <a:t>Two</a:t>
            </a:r>
            <a:r>
              <a:rPr lang="de-DE" dirty="0"/>
              <a:t> Images Slide</a:t>
            </a:r>
          </a:p>
        </p:txBody>
      </p:sp>
      <p:sp>
        <p:nvSpPr>
          <p:cNvPr id="10" name="Image">
            <a:extLst>
              <a:ext uri="{FF2B5EF4-FFF2-40B4-BE49-F238E27FC236}">
                <a16:creationId xmlns:a16="http://schemas.microsoft.com/office/drawing/2014/main" id="{936BB358-D532-3EBE-A492-9D8C8B48C9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32512" y="1807198"/>
            <a:ext cx="6056175" cy="5050801"/>
          </a:xfrm>
          <a:solidFill>
            <a:schemeClr val="bg1">
              <a:lumMod val="8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7277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454086B4-C1C9-5E41-95C0-A15114FD0380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07198"/>
            <a:ext cx="12192000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4FA448A-A5A1-F5E7-8038-8DB3FB9B2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4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7999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A870E17-585B-25EC-91D4-D2E89C010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9234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162AFC14-86FA-9D4E-B7BC-74F2486D8FF3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0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BEAAC-B2AD-9E48-A8EA-4EB764E838A2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460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background">
            <a:extLst>
              <a:ext uri="{FF2B5EF4-FFF2-40B4-BE49-F238E27FC236}">
                <a16:creationId xmlns:a16="http://schemas.microsoft.com/office/drawing/2014/main" id="{7A445AAD-DA93-44A7-A716-6A7756ED626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62BF7-8CBC-9E45-BB2F-9259532D43CD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76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99B5F3EF-3489-EF41-92AE-C07F97C393BA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6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4F111-9A96-A84D-87BF-789F902DF62C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1010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2E56A6B5-6638-1EBD-C8EC-8B45B057CC9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F8125B0E-A430-BE60-8185-DF418040DB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2CA009F2-CDFA-1DA7-02B3-838E529006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mastertitelforma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ECB2BC4-109C-E1A1-A355-551DE1C33D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32025" y="5799032"/>
            <a:ext cx="1980551" cy="546206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992822-E94C-1702-FD5A-3197C5DBF06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479375" y="6050859"/>
            <a:ext cx="5616000" cy="36000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07.10.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9329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0" y="0"/>
            <a:ext cx="7824788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99EB4-9340-0347-AF3C-D74FCC7E080E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83563" y="1807199"/>
            <a:ext cx="3529012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3563" y="512763"/>
            <a:ext cx="3528436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Chart Footnote/Source">
            <a:extLst>
              <a:ext uri="{FF2B5EF4-FFF2-40B4-BE49-F238E27FC236}">
                <a16:creationId xmlns:a16="http://schemas.microsoft.com/office/drawing/2014/main" id="{8388A654-05DA-46BD-2557-D2D34395D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0000" y="5759167"/>
            <a:ext cx="7092375" cy="15132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900" b="0"/>
            </a:lvl1pPr>
          </a:lstStyle>
          <a:p>
            <a:pPr lvl="0"/>
            <a:r>
              <a:rPr lang="de-DE" err="1"/>
              <a:t>Footnote</a:t>
            </a:r>
            <a:r>
              <a:rPr lang="de-DE"/>
              <a:t>/Sourc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3" y="1399160"/>
            <a:ext cx="7091801" cy="4262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graph</a:t>
            </a:r>
            <a:r>
              <a:rPr lang="de-DE" dirty="0"/>
              <a:t>/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851410"/>
            <a:ext cx="7092375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000" y="512763"/>
            <a:ext cx="7092375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696840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 userDrawn="1">
          <p15:clr>
            <a:srgbClr val="FBAE40"/>
          </p15:clr>
        </p15:guide>
        <p15:guide id="3" pos="4770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6275388" y="0"/>
            <a:ext cx="5916612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FC8AF-567C-5F49-8E44-47B93969B66E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98" y="1807199"/>
            <a:ext cx="4968301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9" y="512763"/>
            <a:ext cx="49683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743700" y="512762"/>
            <a:ext cx="4968300" cy="45142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graph</a:t>
            </a:r>
            <a:r>
              <a:rPr lang="de-DE"/>
              <a:t>/</a:t>
            </a:r>
            <a:r>
              <a:rPr lang="de-DE" err="1"/>
              <a:t>table</a:t>
            </a:r>
            <a:endParaRPr lang="de-DE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3299" y="5598356"/>
            <a:ext cx="4968702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3299" y="5259709"/>
            <a:ext cx="4968702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311415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pos="4248" userDrawn="1">
          <p15:clr>
            <a:srgbClr val="FBAE40"/>
          </p15:clr>
        </p15:guide>
        <p15:guide id="6" pos="343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264AB6-0912-0D16-C25D-0763240699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4000">
                <a:srgbClr val="EA1B0A"/>
              </a:gs>
              <a:gs pos="98000">
                <a:srgbClr val="96148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CDB24E5-50DF-AB48-84B3-580C5F8120F5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09647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titel</a:t>
            </a:r>
            <a:r>
              <a:rPr lang="de-DE" dirty="0"/>
              <a:t>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C079F7D-79FF-41AB-124C-407E69AFC1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ECF06861-9D4E-FDEF-993D-96CA6FA8BC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86D6CD-FB18-19C2-A75E-33EDA5AF8E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2331936"/>
            <a:ext cx="6444668" cy="1557151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127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C2EE32AD-0752-744D-B6FE-A4C1BE5DF0E1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19173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titel</a:t>
            </a:r>
            <a:r>
              <a:rPr lang="de-DE" dirty="0"/>
              <a:t>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E3AB64-3C77-CE4A-0503-7D8207B8D8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331936"/>
            <a:ext cx="5976615" cy="1547626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0551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4215170-0B6B-5D5C-3956-42FA14BA3E66}"/>
              </a:ext>
            </a:extLst>
          </p:cNvPr>
          <p:cNvSpPr/>
          <p:nvPr userDrawn="1"/>
        </p:nvSpPr>
        <p:spPr>
          <a:xfrm>
            <a:off x="0" y="-1"/>
            <a:ext cx="6275388" cy="6858000"/>
          </a:xfrm>
          <a:prstGeom prst="rect">
            <a:avLst/>
          </a:prstGeom>
          <a:gradFill flip="none" rotWithShape="1">
            <a:gsLst>
              <a:gs pos="6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5E0F0B2-06FB-E449-A0E9-9299E25AD56D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388" y="0"/>
            <a:ext cx="5916612" cy="6857999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5436613" cy="29162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16AC418-7DF3-FC4A-3FE3-EB675B6D8F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DAE23C1-FA80-8A1B-7E1D-9EF6DB6801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02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438835-2655-8DCA-404E-79083CC38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7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D488086D-EEA1-CF4E-B791-0B497494499F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ntact</a:t>
            </a:r>
            <a:r>
              <a:rPr lang="de-DE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4"/>
            <a:ext cx="9288001" cy="689469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1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3464D1A-B18E-D090-1C9D-E945B394C3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5083936-085C-48AA-540F-DA08BAD5EE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91DF28A4-A76B-1B84-FFC1-3596AF8A00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FC7B165-BDDA-78D9-22D2-E6CC395C0C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1202233"/>
            <a:ext cx="9288001" cy="635639"/>
          </a:xfrm>
        </p:spPr>
        <p:txBody>
          <a:bodyPr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.ON Logo">
            <a:extLst>
              <a:ext uri="{FF2B5EF4-FFF2-40B4-BE49-F238E27FC236}">
                <a16:creationId xmlns:a16="http://schemas.microsoft.com/office/drawing/2014/main" id="{404EC8AB-7FB9-DD09-32D3-29B6F4B7B61F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65157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">
            <a:extLst>
              <a:ext uri="{FF2B5EF4-FFF2-40B4-BE49-F238E27FC236}">
                <a16:creationId xmlns:a16="http://schemas.microsoft.com/office/drawing/2014/main" id="{80AC49D3-6A5A-9774-4531-1B486B7E76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E1661ABF-B6C1-304A-B785-E576099AC068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575" cy="68947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9DA9C75-51A0-D606-2C11-77CC23F8A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62B9F09-1353-EC0F-B9A1-A281ABA9ED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04437E0E-F58E-840C-4CA1-5A20337C18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D6592-F4E3-3941-7D9D-531EB3FA89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1202233"/>
            <a:ext cx="11233150" cy="67990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E398898-6226-AF23-EBB4-8146744ED0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87819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mage">
            <a:extLst>
              <a:ext uri="{FF2B5EF4-FFF2-40B4-BE49-F238E27FC236}">
                <a16:creationId xmlns:a16="http://schemas.microsoft.com/office/drawing/2014/main" id="{96537854-3AC1-5D8C-32C0-773FDACAA8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5E4262CA-21A9-4E4D-8E7E-5DF8639F2343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79425" y="1448780"/>
            <a:ext cx="11233150" cy="3545586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15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1FBC18BA-07D1-12C2-80F5-C358D6A587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97D13E98-B776-B804-BDA0-5AA68AC6F5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5B4FB576-C51D-63AF-406B-C62ACA7171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9364ACD0-A96D-8FE8-D5F2-DC9811F772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72722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152379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C25F2DB8-05D3-784A-98E0-7A06DBBA287E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mage">
            <a:extLst>
              <a:ext uri="{FF2B5EF4-FFF2-40B4-BE49-F238E27FC236}">
                <a16:creationId xmlns:a16="http://schemas.microsoft.com/office/drawing/2014/main" id="{3A04AC39-7148-C419-6962-E080928AA6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7620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3528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3528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3528000" cy="2243691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400">
                <a:solidFill>
                  <a:schemeClr val="accent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0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B448BCEC-C644-97C8-EDFE-A5318AB3EA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00E2E16-40EB-598C-C85E-F2E8A9EE05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64DA533-F61A-5EEF-7809-39495E4A5F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E.ON Logo">
            <a:extLst>
              <a:ext uri="{FF2B5EF4-FFF2-40B4-BE49-F238E27FC236}">
                <a16:creationId xmlns:a16="http://schemas.microsoft.com/office/drawing/2014/main" id="{987A17B9-31C0-7037-5B47-DBECF4F8697D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accent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69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7026578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71EDD8-CE41-5F3A-1222-8BB0B52C85ED}"/>
              </a:ext>
            </a:extLst>
          </p:cNvPr>
          <p:cNvSpPr/>
          <p:nvPr userDrawn="1"/>
        </p:nvSpPr>
        <p:spPr>
          <a:xfrm>
            <a:off x="0" y="-1"/>
            <a:ext cx="4572000" cy="6858000"/>
          </a:xfrm>
          <a:prstGeom prst="rect">
            <a:avLst/>
          </a:prstGeom>
          <a:gradFill flip="none" rotWithShape="1">
            <a:gsLst>
              <a:gs pos="58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5674F3-461B-A0D8-BD43-B0E188D4749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3D36D-170F-57E0-AC70-4E68245359A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B8FDE1EB-2770-97AC-33D1-F5045924E2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2407206"/>
            <a:ext cx="3708362" cy="564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512764"/>
            <a:ext cx="3708363" cy="17776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4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 err="1"/>
              <a:t>mastertitelformat</a:t>
            </a:r>
            <a:r>
              <a:rPr lang="de-DE" dirty="0"/>
              <a:t> bearbeiten</a:t>
            </a:r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1E5B8264-4460-C20B-5FD0-7B628F2BF2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4BA2485C-9557-F4C3-55A1-F87F6372E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0" name="E.ON Logo">
            <a:extLst>
              <a:ext uri="{FF2B5EF4-FFF2-40B4-BE49-F238E27FC236}">
                <a16:creationId xmlns:a16="http://schemas.microsoft.com/office/drawing/2014/main" id="{778D5CDF-1202-A4A2-F064-431B6EFF7421}"/>
              </a:ext>
            </a:extLst>
          </p:cNvPr>
          <p:cNvSpPr/>
          <p:nvPr userDrawn="1"/>
        </p:nvSpPr>
        <p:spPr>
          <a:xfrm>
            <a:off x="479425" y="5854729"/>
            <a:ext cx="1778585" cy="490507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78F765-2AAF-6D64-9D02-36444FBC874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9424" y="3112945"/>
            <a:ext cx="3708361" cy="287337"/>
          </a:xfrm>
        </p:spPr>
        <p:txBody>
          <a:bodyPr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07.10.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8697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6C5AA-B723-1B46-A200-44A840E6773F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807200"/>
            <a:ext cx="11232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41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03AA2-B5CF-DF42-BFD7-E438A8E61E16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76575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53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E2844-2F76-E644-A845-460A05DF696C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821C6087-42E8-EF3E-2DB1-006977CF49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84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Content center">
            <a:extLst>
              <a:ext uri="{FF2B5EF4-FFF2-40B4-BE49-F238E27FC236}">
                <a16:creationId xmlns:a16="http://schemas.microsoft.com/office/drawing/2014/main" id="{4DBF2313-467C-EC6E-F064-A45CD68A4D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2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02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29">
          <p15:clr>
            <a:srgbClr val="FBAE40"/>
          </p15:clr>
        </p15:guide>
        <p15:guide id="3" pos="5155">
          <p15:clr>
            <a:srgbClr val="FBAE40"/>
          </p15:clr>
        </p15:guide>
        <p15:guide id="4" pos="495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5105732-2702-2705-E25B-F69A991136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287" y="1816649"/>
            <a:ext cx="3527425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8F8D6EF-C64D-64CB-2BE5-D5340EA02F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5149" y="1816651"/>
            <a:ext cx="3527425" cy="452858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810C95-AC8E-6C1E-2B05-18C779A35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816651"/>
            <a:ext cx="3527424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0F2DB-F57A-AF4E-AE6C-A93AEBE3F34F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7542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4951" userDrawn="1">
          <p15:clr>
            <a:srgbClr val="FBAE40"/>
          </p15:clr>
        </p15:guide>
        <p15:guide id="8" pos="515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D648E009-BB98-9E35-EA66-436B411E8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08162"/>
            <a:ext cx="2555266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9563D87D-9B7E-CB86-AD42-793930BBC5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9151" y="1808162"/>
            <a:ext cx="2556850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B04EEFA6-9DB8-5952-1B19-2DC826ECF7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1" y="1808162"/>
            <a:ext cx="2592389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2F93D3B-4527-E2A4-E384-5954C4A98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56699" y="1808162"/>
            <a:ext cx="2555875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54A01-68C8-6244-A7C0-65979CD3F425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51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3727" userDrawn="1">
          <p15:clr>
            <a:srgbClr val="FBAE40"/>
          </p15:clr>
        </p15:guide>
        <p15:guide id="8" pos="3931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7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FC4CD-1D60-AC45-8637-25ABD31243B7}" type="datetime1">
              <a:rPr lang="de-DE" smtClean="0"/>
              <a:t>07.10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24FCAC5-11F5-9A4C-F9DC-4A81828929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1</a:t>
            </a:r>
            <a:endParaRPr lang="en-US" dirty="0"/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FACD359C-D847-4B82-D96F-7456AFF3D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144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2</a:t>
            </a:r>
            <a:endParaRPr lang="en-US" dirty="0"/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A6CBA61-2475-CC89-F9C3-C02028C81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288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3</a:t>
            </a:r>
            <a:endParaRPr lang="en-US" dirty="0"/>
          </a:p>
        </p:txBody>
      </p:sp>
      <p:sp>
        <p:nvSpPr>
          <p:cNvPr id="63" name="Text Placeholder 59">
            <a:extLst>
              <a:ext uri="{FF2B5EF4-FFF2-40B4-BE49-F238E27FC236}">
                <a16:creationId xmlns:a16="http://schemas.microsoft.com/office/drawing/2014/main" id="{08F4EFE1-28F5-581B-F05D-38EBBE1ED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1432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4</a:t>
            </a:r>
            <a:endParaRPr lang="en-US" dirty="0"/>
          </a:p>
        </p:txBody>
      </p:sp>
      <p:sp>
        <p:nvSpPr>
          <p:cNvPr id="64" name="Text Placeholder 59">
            <a:extLst>
              <a:ext uri="{FF2B5EF4-FFF2-40B4-BE49-F238E27FC236}">
                <a16:creationId xmlns:a16="http://schemas.microsoft.com/office/drawing/2014/main" id="{AB30CC30-1713-8F61-2722-FED948533C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88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5</a:t>
            </a:r>
            <a:endParaRPr lang="en-US" dirty="0"/>
          </a:p>
        </p:txBody>
      </p:sp>
      <p:sp>
        <p:nvSpPr>
          <p:cNvPr id="73" name="Text Placeholder 70">
            <a:extLst>
              <a:ext uri="{FF2B5EF4-FFF2-40B4-BE49-F238E27FC236}">
                <a16:creationId xmlns:a16="http://schemas.microsoft.com/office/drawing/2014/main" id="{FA15A0FC-E301-BBB8-6C26-2D2AA6D60F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6651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F884D185-C4E4-F2B6-F85D-0F97BCF7F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09507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7" name="Text Placeholder 70">
            <a:extLst>
              <a:ext uri="{FF2B5EF4-FFF2-40B4-BE49-F238E27FC236}">
                <a16:creationId xmlns:a16="http://schemas.microsoft.com/office/drawing/2014/main" id="{049757F1-D506-2C2C-269C-5FC0FDF083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8" name="Text Placeholder 70">
            <a:extLst>
              <a:ext uri="{FF2B5EF4-FFF2-40B4-BE49-F238E27FC236}">
                <a16:creationId xmlns:a16="http://schemas.microsoft.com/office/drawing/2014/main" id="{B14F01AA-43F5-F834-B7F6-3949E5206A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63795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9" name="Text Placeholder 70">
            <a:extLst>
              <a:ext uri="{FF2B5EF4-FFF2-40B4-BE49-F238E27FC236}">
                <a16:creationId xmlns:a16="http://schemas.microsoft.com/office/drawing/2014/main" id="{6CE067F8-251E-8C0B-ACA3-8B0217FB0B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0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953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000" y="1808163"/>
            <a:ext cx="11232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983998" y="6526212"/>
            <a:ext cx="1188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4166F76A-4900-864D-B9F6-2488814C2A20}" type="datetime1">
              <a:rPr lang="de-DE" smtClean="0"/>
              <a:t>07.10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New E.ON PowerPoint Mas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42808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8" r:id="rId3"/>
    <p:sldLayoutId id="2147483679" r:id="rId4"/>
    <p:sldLayoutId id="2147483680" r:id="rId5"/>
    <p:sldLayoutId id="2147483685" r:id="rId6"/>
    <p:sldLayoutId id="2147483687" r:id="rId7"/>
    <p:sldLayoutId id="2147483681" r:id="rId8"/>
    <p:sldLayoutId id="2147483686" r:id="rId9"/>
    <p:sldLayoutId id="2147483682" r:id="rId10"/>
    <p:sldLayoutId id="2147483656" r:id="rId11"/>
    <p:sldLayoutId id="2147483657" r:id="rId12"/>
    <p:sldLayoutId id="2147483684" r:id="rId13"/>
    <p:sldLayoutId id="2147483691" r:id="rId14"/>
    <p:sldLayoutId id="2147483675" r:id="rId15"/>
    <p:sldLayoutId id="2147483658" r:id="rId16"/>
    <p:sldLayoutId id="2147483671" r:id="rId17"/>
    <p:sldLayoutId id="2147483670" r:id="rId18"/>
    <p:sldLayoutId id="2147483659" r:id="rId19"/>
    <p:sldLayoutId id="2147483660" r:id="rId20"/>
    <p:sldLayoutId id="2147483683" r:id="rId21"/>
    <p:sldLayoutId id="2147483661" r:id="rId22"/>
    <p:sldLayoutId id="2147483664" r:id="rId23"/>
    <p:sldLayoutId id="2147483665" r:id="rId24"/>
    <p:sldLayoutId id="2147483666" r:id="rId25"/>
    <p:sldLayoutId id="2147483667" r:id="rId26"/>
    <p:sldLayoutId id="2147483669" r:id="rId27"/>
    <p:sldLayoutId id="2147483668" r:id="rId28"/>
    <p:sldLayoutId id="2147483692" r:id="rId29"/>
  </p:sldLayoutIdLst>
  <p:hf hdr="0" dt="0"/>
  <p:txStyles>
    <p:titleStyle>
      <a:lvl1pPr algn="l" defTabSz="5400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3017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240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335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6.sv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6.png"/><Relationship Id="rId4" Type="http://schemas.openxmlformats.org/officeDocument/2006/relationships/customXml" Target="../ink/ink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pring.io/spring-ai/reference/api/audio/speech.html" TargetMode="External"/><Relationship Id="rId13" Type="http://schemas.openxmlformats.org/officeDocument/2006/relationships/hyperlink" Target="https://docs.spring.io/spring-ai/reference/observability/index.html" TargetMode="External"/><Relationship Id="rId3" Type="http://schemas.openxmlformats.org/officeDocument/2006/relationships/hyperlink" Target="https://docs.spring.io/spring-ai/reference/api/index.html" TargetMode="External"/><Relationship Id="rId7" Type="http://schemas.openxmlformats.org/officeDocument/2006/relationships/hyperlink" Target="https://docs.spring.io/spring-ai/reference/api/audio/transcriptions.html" TargetMode="External"/><Relationship Id="rId12" Type="http://schemas.openxmlformats.org/officeDocument/2006/relationships/hyperlink" Target="https://docs.spring.io/spring-ai/reference/api/tools.html" TargetMode="External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docs.spring.io/spring-ai/reference/api/chatclient.html#_chat_memory" TargetMode="Externa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s://docs.spring.io/spring-ai/reference/api/imageclient.html" TargetMode="External"/><Relationship Id="rId11" Type="http://schemas.openxmlformats.org/officeDocument/2006/relationships/hyperlink" Target="https://docs.spring.io/spring-ai/reference/api/vectordbs.html" TargetMode="External"/><Relationship Id="rId5" Type="http://schemas.openxmlformats.org/officeDocument/2006/relationships/hyperlink" Target="https://docs.spring.io/spring-ai/reference/api/embeddings.html" TargetMode="External"/><Relationship Id="rId15" Type="http://schemas.openxmlformats.org/officeDocument/2006/relationships/hyperlink" Target="https://docs.spring.io/spring-ai/reference/api/testing.html" TargetMode="External"/><Relationship Id="rId10" Type="http://schemas.openxmlformats.org/officeDocument/2006/relationships/hyperlink" Target="https://docs.spring.io/spring-ai/reference/api/structured-output-converter.html" TargetMode="External"/><Relationship Id="rId4" Type="http://schemas.openxmlformats.org/officeDocument/2006/relationships/hyperlink" Target="https://docs.spring.io/spring-ai/reference/api/chatmodel.html" TargetMode="External"/><Relationship Id="rId9" Type="http://schemas.openxmlformats.org/officeDocument/2006/relationships/hyperlink" Target="https://docs.spring.io/spring-ai/reference/index.html#api/moderation" TargetMode="External"/><Relationship Id="rId14" Type="http://schemas.openxmlformats.org/officeDocument/2006/relationships/hyperlink" Target="https://docs.spring.io/spring-ai/reference/api/etl-pipeline.htm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3738E7-B925-934C-8E25-969ECF3B4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EB8F6369-C54F-4223-7B43-5689B18BC6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5" y="3429000"/>
            <a:ext cx="10513254" cy="1362246"/>
          </a:xfrm>
        </p:spPr>
        <p:txBody>
          <a:bodyPr/>
          <a:lstStyle/>
          <a:p>
            <a:r>
              <a:rPr lang="en-GB" dirty="0"/>
              <a:t>Forget the hype. Let’s explore some capabilities of Generative AI (LLM) that we can map to our business requirements and client's needs. </a:t>
            </a:r>
            <a:r>
              <a:rPr lang="en-US" dirty="0"/>
              <a:t> 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EDBF272-0708-DC72-5571-D78BF048BC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512763"/>
            <a:ext cx="11233150" cy="1732896"/>
          </a:xfrm>
        </p:spPr>
        <p:txBody>
          <a:bodyPr/>
          <a:lstStyle/>
          <a:p>
            <a:r>
              <a:rPr lang="en-GB" dirty="0"/>
              <a:t>Build your first AI Assistant using generative AI</a:t>
            </a:r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612E8A1-A7F5-456C-7841-0A5E5BF3D7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9EDE4DA-7B8F-4D99-96C0-298ADF5F28C0}" type="datetime1">
              <a:rPr lang="de-DE" smtClean="0"/>
              <a:t>07.10.25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11770-D266-A0A6-7A63-F5352AB573A2}"/>
              </a:ext>
            </a:extLst>
          </p:cNvPr>
          <p:cNvSpPr txBox="1"/>
          <p:nvPr/>
        </p:nvSpPr>
        <p:spPr>
          <a:xfrm>
            <a:off x="4184374" y="6042590"/>
            <a:ext cx="6092687" cy="302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Alexandru Lungu, Senior Software Developer | F</a:t>
            </a:r>
            <a:r>
              <a:rPr lang="en-GB" dirty="0"/>
              <a:t>u</a:t>
            </a:r>
            <a:r>
              <a:rPr lang="en-RO" dirty="0"/>
              <a:t>ll-Stack</a:t>
            </a:r>
          </a:p>
        </p:txBody>
      </p:sp>
    </p:spTree>
    <p:extLst>
      <p:ext uri="{BB962C8B-B14F-4D97-AF65-F5344CB8AC3E}">
        <p14:creationId xmlns:p14="http://schemas.microsoft.com/office/powerpoint/2010/main" val="17827820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C5733-03E0-716D-7332-3D39A7E2E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11EDA86-CCF1-DF38-67EE-90990416A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854CCA-E238-15AC-1318-6F2ACD2D868F}"/>
              </a:ext>
            </a:extLst>
          </p:cNvPr>
          <p:cNvSpPr txBox="1"/>
          <p:nvPr/>
        </p:nvSpPr>
        <p:spPr>
          <a:xfrm>
            <a:off x="504000" y="1228436"/>
            <a:ext cx="8368125" cy="6862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: </a:t>
            </a:r>
            <a:r>
              <a:rPr lang="en-GB" dirty="0"/>
              <a:t>get all the Light devices and display the room, Light type and Light type counter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heck if the assistant is right for: Room 201 | Fluorescent  | 1 </a:t>
            </a:r>
            <a:endParaRPr lang="en-RO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7A6296-7CC0-B7EA-F2B4-7C26BAF9B0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540" y="2044159"/>
            <a:ext cx="11184860" cy="4309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683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2CCAF-7F42-5143-9D0D-FDC54E1409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1D305352-E652-0743-DA60-78F136C9A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A04946-C7C9-7B6F-250F-1F49E42A6202}"/>
              </a:ext>
            </a:extLst>
          </p:cNvPr>
          <p:cNvSpPr txBox="1"/>
          <p:nvPr/>
        </p:nvSpPr>
        <p:spPr>
          <a:xfrm>
            <a:off x="571255" y="1099127"/>
            <a:ext cx="5959452" cy="55024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Answer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Sensor", </a:t>
            </a:r>
            <a:r>
              <a:rPr lang="en-GB" sz="1400" dirty="0" err="1"/>
              <a:t>deviceCount</a:t>
            </a:r>
            <a:r>
              <a:rPr lang="en-GB" sz="1400" dirty="0"/>
              <a:t>: 3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2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1", </a:t>
            </a:r>
            <a:r>
              <a:rPr lang="en-GB" sz="1400" dirty="0" err="1"/>
              <a:t>deviceLabel</a:t>
            </a:r>
            <a:r>
              <a:rPr lang="en-GB" sz="1400" dirty="0"/>
              <a:t>: "Sensor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2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2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2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Ligh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201", </a:t>
            </a:r>
            <a:r>
              <a:rPr lang="en-GB" sz="1400" dirty="0" err="1"/>
              <a:t>deviceLabel</a:t>
            </a:r>
            <a:r>
              <a:rPr lang="en-GB" sz="1400" dirty="0"/>
              <a:t>: "Sensor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</a:t>
            </a:r>
            <a:r>
              <a:rPr lang="en-GB" sz="1400" dirty="0" err="1"/>
              <a:t>CircuitBreaker</a:t>
            </a:r>
            <a:r>
              <a:rPr lang="en-GB" sz="1400" dirty="0"/>
              <a:t>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sz="1400" dirty="0"/>
              <a:t>Record&lt;{</a:t>
            </a:r>
            <a:r>
              <a:rPr lang="en-GB" sz="1400" dirty="0" err="1"/>
              <a:t>roomName</a:t>
            </a:r>
            <a:r>
              <a:rPr lang="en-GB" sz="1400" dirty="0"/>
              <a:t>: "Room 104", </a:t>
            </a:r>
            <a:r>
              <a:rPr lang="en-GB" sz="1400" dirty="0" err="1"/>
              <a:t>deviceLabel</a:t>
            </a:r>
            <a:r>
              <a:rPr lang="en-GB" sz="1400" dirty="0"/>
              <a:t>: "Outlet", </a:t>
            </a:r>
            <a:r>
              <a:rPr lang="en-GB" sz="1400" dirty="0" err="1"/>
              <a:t>deviceCount</a:t>
            </a:r>
            <a:r>
              <a:rPr lang="en-GB" sz="1400" dirty="0"/>
              <a:t>: 1}&gt;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6EC84D-3265-E58C-163B-97C3F60B622E}"/>
              </a:ext>
            </a:extLst>
          </p:cNvPr>
          <p:cNvSpPr txBox="1"/>
          <p:nvPr/>
        </p:nvSpPr>
        <p:spPr>
          <a:xfrm>
            <a:off x="504000" y="1163782"/>
            <a:ext cx="11620745" cy="6862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: </a:t>
            </a:r>
            <a:r>
              <a:rPr lang="en-GB" dirty="0"/>
              <a:t>count the devices from each room and display the room name and device node label and count in descending order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323251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750D2-DA5B-E1D5-4424-DE6C0DC7C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185C56F9-B93E-D0EB-67F5-16BA4D842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9B4F81-06F0-1915-3326-966B5BFA1C41}"/>
              </a:ext>
            </a:extLst>
          </p:cNvPr>
          <p:cNvSpPr txBox="1"/>
          <p:nvPr/>
        </p:nvSpPr>
        <p:spPr>
          <a:xfrm>
            <a:off x="504000" y="1146684"/>
            <a:ext cx="5883405" cy="9222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sz="1400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heck if the AI assistant is right for : Room 104 has 3 sensors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2CA993-0FF2-C29F-5E71-F3F70EE71E66}"/>
              </a:ext>
            </a:extLst>
          </p:cNvPr>
          <p:cNvSpPr txBox="1"/>
          <p:nvPr/>
        </p:nvSpPr>
        <p:spPr>
          <a:xfrm>
            <a:off x="504000" y="1163782"/>
            <a:ext cx="11620745" cy="6862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: </a:t>
            </a:r>
            <a:r>
              <a:rPr lang="en-GB" dirty="0"/>
              <a:t>count the devices from each room and display the room name and device node label and count in descending order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C5DDCE-80F4-BA87-DB4E-9BF42D874D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11" y="2287788"/>
            <a:ext cx="11516564" cy="406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0774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E2745-83CE-A3F5-3D03-D2337CB3D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ED4EFCA0-2425-20F2-106A-8AD65282A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F49777-D0E9-6C12-8C76-33468B60DD11}"/>
              </a:ext>
            </a:extLst>
          </p:cNvPr>
          <p:cNvSpPr txBox="1"/>
          <p:nvPr/>
        </p:nvSpPr>
        <p:spPr>
          <a:xfrm>
            <a:off x="266684" y="1440873"/>
            <a:ext cx="11925316" cy="10699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S</a:t>
            </a:r>
            <a:r>
              <a:rPr lang="en-RO" dirty="0"/>
              <a:t>tep 1: the question is send to Ollama. The context is enhanced with the DB schema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question =  "count the devices from each room and display the room name and device node label and count in descending order"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2262108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F2E8F5-8DED-0F1E-D970-C70F364F2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AD7557B6-B48E-760D-6F1F-3A31B422DF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37BAB4-E1BB-E154-A774-BE9852DEBB14}"/>
              </a:ext>
            </a:extLst>
          </p:cNvPr>
          <p:cNvSpPr txBox="1"/>
          <p:nvPr/>
        </p:nvSpPr>
        <p:spPr>
          <a:xfrm>
            <a:off x="266684" y="1440873"/>
            <a:ext cx="9630137" cy="70018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S</a:t>
            </a:r>
            <a:r>
              <a:rPr lang="en-RO" dirty="0"/>
              <a:t>tep 1: the question is send to Ollama. The context is enhanced with the DB schema in an agentic style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   template = """</a:t>
            </a:r>
            <a:br>
              <a:rPr lang="en-GB" dirty="0"/>
            </a:br>
            <a:r>
              <a:rPr lang="en-GB" dirty="0"/>
              <a:t>    You are a Neo4J Cypher query designer.</a:t>
            </a:r>
            <a:br>
              <a:rPr lang="en-GB" dirty="0"/>
            </a:br>
            <a:r>
              <a:rPr lang="en-GB" dirty="0"/>
              <a:t>Given this Neo4J schema description.</a:t>
            </a:r>
            <a:br>
              <a:rPr lang="en-GB" dirty="0"/>
            </a:br>
            <a:br>
              <a:rPr lang="en-GB" dirty="0"/>
            </a:br>
            <a:r>
              <a:rPr lang="en-GB" dirty="0"/>
              <a:t>&lt;schema&gt;</a:t>
            </a:r>
            <a:br>
              <a:rPr lang="en-GB" dirty="0"/>
            </a:br>
            <a:r>
              <a:rPr lang="en-GB" dirty="0"/>
              <a:t>Nodes;</a:t>
            </a:r>
            <a:br>
              <a:rPr lang="en-GB" dirty="0"/>
            </a:br>
            <a:r>
              <a:rPr lang="en-GB" dirty="0"/>
              <a:t> - type: Building, properties: </a:t>
            </a:r>
            <a:br>
              <a:rPr lang="en-GB" dirty="0"/>
            </a:br>
            <a:r>
              <a:rPr lang="en-GB" dirty="0"/>
              <a:t>     + [String] name</a:t>
            </a:r>
            <a:br>
              <a:rPr lang="en-GB" dirty="0"/>
            </a:br>
            <a:r>
              <a:rPr lang="en-GB" dirty="0"/>
              <a:t> - type: Floor, properties: </a:t>
            </a:r>
            <a:br>
              <a:rPr lang="en-GB" dirty="0"/>
            </a:br>
            <a:r>
              <a:rPr lang="en-GB" dirty="0"/>
              <a:t>     + [Number] number</a:t>
            </a:r>
            <a:br>
              <a:rPr lang="en-GB" dirty="0"/>
            </a:br>
            <a:r>
              <a:rPr lang="en-GB" dirty="0"/>
              <a:t> - type: Room, properties: </a:t>
            </a:r>
            <a:br>
              <a:rPr lang="en-GB" dirty="0"/>
            </a:br>
            <a:r>
              <a:rPr lang="en-GB" dirty="0"/>
              <a:t>     + [String] name</a:t>
            </a:r>
            <a:br>
              <a:rPr lang="en-GB" dirty="0"/>
            </a:br>
            <a:r>
              <a:rPr lang="en-GB" dirty="0"/>
              <a:t>     </a:t>
            </a:r>
            <a:br>
              <a:rPr lang="en-GB" dirty="0"/>
            </a:br>
            <a:r>
              <a:rPr lang="en-GB" dirty="0"/>
              <a:t> - type: </a:t>
            </a:r>
            <a:r>
              <a:rPr lang="en-GB" dirty="0" err="1"/>
              <a:t>CircuitBreaker</a:t>
            </a:r>
            <a:r>
              <a:rPr lang="en-GB" dirty="0"/>
              <a:t>, properties: </a:t>
            </a:r>
            <a:br>
              <a:rPr lang="en-GB" dirty="0"/>
            </a:br>
            <a:r>
              <a:rPr lang="en-GB" dirty="0"/>
              <a:t>     + [String] name  </a:t>
            </a:r>
            <a:br>
              <a:rPr lang="en-GB" dirty="0"/>
            </a:br>
            <a:r>
              <a:rPr lang="en-GB" dirty="0"/>
              <a:t> - type: Light, properties: </a:t>
            </a:r>
            <a:br>
              <a:rPr lang="en-GB" dirty="0"/>
            </a:br>
            <a:r>
              <a:rPr lang="en-GB" dirty="0"/>
              <a:t>     + [String] type     </a:t>
            </a:r>
            <a:br>
              <a:rPr lang="en-GB" dirty="0"/>
            </a:br>
            <a:r>
              <a:rPr lang="en-GB" dirty="0"/>
              <a:t>     + [String] name </a:t>
            </a:r>
            <a:br>
              <a:rPr lang="en-GB" dirty="0"/>
            </a:br>
            <a:r>
              <a:rPr lang="en-GB" dirty="0"/>
              <a:t>     + [Number] power            </a:t>
            </a:r>
            <a:br>
              <a:rPr lang="en-GB" dirty="0"/>
            </a:br>
            <a:r>
              <a:rPr lang="en-GB" dirty="0"/>
              <a:t> - type: Outlet, properties: </a:t>
            </a: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668206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EABCB4-336A-ECEB-C7E1-5C8D2A2B6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D379534F-C1FA-7B56-CFA4-CC6D437B7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4D431-8038-A587-FA43-3348309CCC3D}"/>
              </a:ext>
            </a:extLst>
          </p:cNvPr>
          <p:cNvSpPr txBox="1"/>
          <p:nvPr/>
        </p:nvSpPr>
        <p:spPr>
          <a:xfrm>
            <a:off x="266684" y="1440873"/>
            <a:ext cx="12724958" cy="64396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S</a:t>
            </a:r>
            <a:r>
              <a:rPr lang="en-RO" dirty="0"/>
              <a:t>tep 1: the question is send to Ollama. The context is enhanced with the DB schema in an agentic style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   Reduce hallucinations and narrow the response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&lt;rule&gt;</a:t>
            </a:r>
            <a:br>
              <a:rPr lang="en-GB" dirty="0"/>
            </a:br>
            <a:r>
              <a:rPr lang="en-GB" dirty="0"/>
              <a:t>- Use only the information based on the &lt;schema&gt; to provide accurate answers for the &lt;question&gt;.</a:t>
            </a:r>
            <a:br>
              <a:rPr lang="en-GB" dirty="0"/>
            </a:br>
            <a:r>
              <a:rPr lang="en-GB" dirty="0"/>
              <a:t>- If you don't know, or the &lt;schema&gt; does not provide enough information, answer with "I don't know".</a:t>
            </a:r>
            <a:br>
              <a:rPr lang="en-GB" dirty="0"/>
            </a:br>
            <a:r>
              <a:rPr lang="en-GB" dirty="0"/>
              <a:t>- Always limit the query to 100 most relevant results.</a:t>
            </a:r>
            <a:br>
              <a:rPr lang="en-GB" dirty="0"/>
            </a:br>
            <a:r>
              <a:rPr lang="en-GB" dirty="0"/>
              <a:t>- The cypher must always return node properties and not the node itself.</a:t>
            </a:r>
            <a:br>
              <a:rPr lang="en-GB" dirty="0"/>
            </a:br>
            <a:r>
              <a:rPr lang="en-GB" dirty="0"/>
              <a:t>  For example:</a:t>
            </a:r>
            <a:br>
              <a:rPr lang="en-GB" dirty="0"/>
            </a:br>
            <a:r>
              <a:rPr lang="en-GB" dirty="0"/>
              <a:t>    + this one is not expected: `MATCH (</a:t>
            </a:r>
            <a:r>
              <a:rPr lang="en-GB" dirty="0" err="1"/>
              <a:t>u:User</a:t>
            </a:r>
            <a:r>
              <a:rPr lang="en-GB" dirty="0"/>
              <a:t>) RETURN u LIMIT 100`</a:t>
            </a:r>
            <a:br>
              <a:rPr lang="en-GB" dirty="0"/>
            </a:br>
            <a:r>
              <a:rPr lang="en-GB" dirty="0"/>
              <a:t>    + this one is expected: `MATCH (</a:t>
            </a:r>
            <a:r>
              <a:rPr lang="en-GB" dirty="0" err="1"/>
              <a:t>u:User</a:t>
            </a:r>
            <a:r>
              <a:rPr lang="en-GB" dirty="0"/>
              <a:t>) RETURN </a:t>
            </a:r>
            <a:r>
              <a:rPr lang="en-GB" dirty="0" err="1"/>
              <a:t>u.userId</a:t>
            </a:r>
            <a:r>
              <a:rPr lang="en-GB" dirty="0"/>
              <a:t>, </a:t>
            </a:r>
            <a:r>
              <a:rPr lang="en-GB" dirty="0" err="1"/>
              <a:t>u.username</a:t>
            </a:r>
            <a:r>
              <a:rPr lang="en-GB" dirty="0"/>
              <a:t>, </a:t>
            </a:r>
            <a:r>
              <a:rPr lang="en-GB" dirty="0" err="1"/>
              <a:t>u.registeredAt</a:t>
            </a:r>
            <a:r>
              <a:rPr lang="en-GB" dirty="0"/>
              <a:t>, </a:t>
            </a:r>
            <a:r>
              <a:rPr lang="en-GB" dirty="0" err="1"/>
              <a:t>u.displayName</a:t>
            </a:r>
            <a:r>
              <a:rPr lang="en-GB" dirty="0"/>
              <a:t> LIMIT 100`</a:t>
            </a:r>
            <a:br>
              <a:rPr lang="en-GB" dirty="0"/>
            </a:br>
            <a:r>
              <a:rPr lang="en-GB" dirty="0"/>
              <a:t>- Provide only Cypher query. No descriptive text.</a:t>
            </a:r>
            <a:br>
              <a:rPr lang="en-GB" dirty="0"/>
            </a:br>
            <a:r>
              <a:rPr lang="en-GB" dirty="0"/>
              <a:t>- Your output must be in one line of plain text, not formatted as code.</a:t>
            </a:r>
            <a:br>
              <a:rPr lang="en-GB" dirty="0"/>
            </a:br>
            <a:r>
              <a:rPr lang="en-GB" dirty="0"/>
              <a:t>- Always answer with one Cypher query. If more than one query exists, return only the first one.</a:t>
            </a:r>
            <a:br>
              <a:rPr lang="en-GB" dirty="0"/>
            </a:br>
            <a:r>
              <a:rPr lang="en-GB" dirty="0"/>
              <a:t>  For example:</a:t>
            </a:r>
            <a:br>
              <a:rPr lang="en-GB" dirty="0"/>
            </a:br>
            <a:r>
              <a:rPr lang="en-GB" dirty="0"/>
              <a:t>    + this one is not expected: `MATCH (</a:t>
            </a:r>
            <a:r>
              <a:rPr lang="en-GB" dirty="0" err="1"/>
              <a:t>u:User</a:t>
            </a:r>
            <a:r>
              <a:rPr lang="en-GB" dirty="0"/>
              <a:t>) WHERE </a:t>
            </a:r>
            <a:r>
              <a:rPr lang="en-GB" dirty="0" err="1"/>
              <a:t>u.displayName</a:t>
            </a:r>
            <a:r>
              <a:rPr lang="en-GB" dirty="0"/>
              <a:t>='</a:t>
            </a:r>
            <a:r>
              <a:rPr lang="en-GB" dirty="0" err="1"/>
              <a:t>brucewayne</a:t>
            </a:r>
            <a:r>
              <a:rPr lang="en-GB" dirty="0"/>
              <a:t>'; MATCH (</a:t>
            </a:r>
            <a:r>
              <a:rPr lang="en-GB" dirty="0" err="1"/>
              <a:t>u:User</a:t>
            </a:r>
            <a:r>
              <a:rPr lang="en-GB" dirty="0"/>
              <a:t>) WHERE </a:t>
            </a:r>
            <a:r>
              <a:rPr lang="en-GB" dirty="0" err="1"/>
              <a:t>u.username</a:t>
            </a:r>
            <a:r>
              <a:rPr lang="en-GB" dirty="0"/>
              <a:t>='batman'; `</a:t>
            </a:r>
            <a:br>
              <a:rPr lang="en-GB" dirty="0"/>
            </a:br>
            <a:r>
              <a:rPr lang="en-GB" dirty="0"/>
              <a:t>    + this one is expected: `MATCH (</a:t>
            </a:r>
            <a:r>
              <a:rPr lang="en-GB" dirty="0" err="1"/>
              <a:t>u:User</a:t>
            </a:r>
            <a:r>
              <a:rPr lang="en-GB" dirty="0"/>
              <a:t>) WHERE </a:t>
            </a:r>
            <a:r>
              <a:rPr lang="en-GB" dirty="0" err="1"/>
              <a:t>u.displayName</a:t>
            </a:r>
            <a:r>
              <a:rPr lang="en-GB" dirty="0"/>
              <a:t>='</a:t>
            </a:r>
            <a:r>
              <a:rPr lang="en-GB" dirty="0" err="1"/>
              <a:t>brucewayne</a:t>
            </a:r>
            <a:r>
              <a:rPr lang="en-GB" dirty="0"/>
              <a:t>'`</a:t>
            </a:r>
            <a:br>
              <a:rPr lang="en-GB" dirty="0"/>
            </a:br>
            <a:r>
              <a:rPr lang="en-GB" dirty="0"/>
              <a:t>- remove the &lt;think&gt; node  from the response</a:t>
            </a:r>
            <a:br>
              <a:rPr lang="en-GB" dirty="0"/>
            </a:br>
            <a:r>
              <a:rPr lang="en-GB" dirty="0"/>
              <a:t>&lt;rule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5435725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5F51B-5C4F-F5F6-3715-0E9AAF7C65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BBAFF4EE-BA82-5815-E86A-5AF498899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23D142-311E-BF12-94F1-F547B017AB58}"/>
              </a:ext>
            </a:extLst>
          </p:cNvPr>
          <p:cNvSpPr txBox="1"/>
          <p:nvPr/>
        </p:nvSpPr>
        <p:spPr>
          <a:xfrm>
            <a:off x="266684" y="1440873"/>
            <a:ext cx="11362149" cy="37558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Step 2: return the Neo4J cypher query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US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Model: gpt-oss:20b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Loading...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algn="just"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MATCH (</a:t>
            </a:r>
            <a:r>
              <a:rPr lang="en-GB" dirty="0" err="1"/>
              <a:t>r:Room</a:t>
            </a:r>
            <a:r>
              <a:rPr lang="en-GB" dirty="0"/>
              <a:t>)-[:CONTAINS]-&gt;(d) RETURN </a:t>
            </a:r>
            <a:r>
              <a:rPr lang="en-GB" dirty="0" err="1"/>
              <a:t>r.name</a:t>
            </a:r>
            <a:r>
              <a:rPr lang="en-GB" dirty="0"/>
              <a:t> AS </a:t>
            </a:r>
            <a:r>
              <a:rPr lang="en-GB" dirty="0" err="1"/>
              <a:t>roomName</a:t>
            </a:r>
            <a:r>
              <a:rPr lang="en-GB" dirty="0"/>
              <a:t>, labels(d)[0] AS </a:t>
            </a:r>
            <a:r>
              <a:rPr lang="en-GB" dirty="0" err="1"/>
              <a:t>deviceLabel</a:t>
            </a:r>
            <a:r>
              <a:rPr lang="en-GB" dirty="0"/>
              <a:t>, count(d) AS </a:t>
            </a:r>
            <a:r>
              <a:rPr lang="en-GB" dirty="0" err="1"/>
              <a:t>deviceCount</a:t>
            </a:r>
            <a:endParaRPr lang="en-GB" dirty="0"/>
          </a:p>
          <a:p>
            <a:pPr algn="just"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 ORDER BY </a:t>
            </a:r>
            <a:r>
              <a:rPr lang="en-GB" dirty="0" err="1"/>
              <a:t>deviceCount</a:t>
            </a:r>
            <a:r>
              <a:rPr lang="en-GB" dirty="0"/>
              <a:t> DESC LIMIT 100</a:t>
            </a:r>
          </a:p>
          <a:p>
            <a:pPr algn="just"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Duration: 22.148921500s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Connection established.</a:t>
            </a: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781380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CD773-BFAA-1E3D-326A-7F45CCAEE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C2A73D71-D19C-4B68-FE21-F12418354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 – how it works?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FB9C9B6-1635-BC20-6E96-FD0FFEBC0047}"/>
              </a:ext>
            </a:extLst>
          </p:cNvPr>
          <p:cNvSpPr txBox="1"/>
          <p:nvPr/>
        </p:nvSpPr>
        <p:spPr>
          <a:xfrm>
            <a:off x="266684" y="1440873"/>
            <a:ext cx="7660752" cy="29884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Step 3: Run the cypher query against the Neo4j DB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sult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4", </a:t>
            </a:r>
            <a:r>
              <a:rPr lang="en-US" dirty="0" err="1"/>
              <a:t>deviceLabel</a:t>
            </a:r>
            <a:r>
              <a:rPr lang="en-US" dirty="0"/>
              <a:t>: "Sensor", </a:t>
            </a:r>
            <a:r>
              <a:rPr lang="en-US" dirty="0" err="1"/>
              <a:t>deviceCount</a:t>
            </a:r>
            <a:r>
              <a:rPr lang="en-US" dirty="0"/>
              <a:t>: 3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4", </a:t>
            </a:r>
            <a:r>
              <a:rPr lang="en-US" dirty="0" err="1"/>
              <a:t>deviceLabel</a:t>
            </a:r>
            <a:r>
              <a:rPr lang="en-US" dirty="0"/>
              <a:t>: "Light", </a:t>
            </a:r>
            <a:r>
              <a:rPr lang="en-US" dirty="0" err="1"/>
              <a:t>deviceCount</a:t>
            </a:r>
            <a:r>
              <a:rPr lang="en-US" dirty="0"/>
              <a:t>: 2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</a:t>
            </a:r>
            <a:r>
              <a:rPr lang="en-US" dirty="0" err="1"/>
              <a:t>CircuitBreaker</a:t>
            </a:r>
            <a:r>
              <a:rPr lang="en-US" dirty="0"/>
              <a:t>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Light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Outlet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Record&lt;{</a:t>
            </a:r>
            <a:r>
              <a:rPr lang="en-US" dirty="0" err="1"/>
              <a:t>roomName</a:t>
            </a:r>
            <a:r>
              <a:rPr lang="en-US" dirty="0"/>
              <a:t>: "Room 101", </a:t>
            </a:r>
            <a:r>
              <a:rPr lang="en-US" dirty="0" err="1"/>
              <a:t>deviceLabel</a:t>
            </a:r>
            <a:r>
              <a:rPr lang="en-US" dirty="0"/>
              <a:t>: "Sensor", </a:t>
            </a:r>
            <a:r>
              <a:rPr lang="en-US" dirty="0" err="1"/>
              <a:t>deviceCount</a:t>
            </a:r>
            <a:r>
              <a:rPr lang="en-US" dirty="0"/>
              <a:t>: 1}&gt;</a:t>
            </a:r>
          </a:p>
        </p:txBody>
      </p:sp>
    </p:spTree>
    <p:extLst>
      <p:ext uri="{BB962C8B-B14F-4D97-AF65-F5344CB8AC3E}">
        <p14:creationId xmlns:p14="http://schemas.microsoft.com/office/powerpoint/2010/main" val="1544423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EED47-92B8-579C-B523-16AADE603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9E1D5BF2-53C9-1D98-71BC-0C0382EDE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r>
              <a:rPr lang="de-DE" dirty="0"/>
              <a:t>Neo4J - </a:t>
            </a:r>
            <a:r>
              <a:rPr lang="en-RO" dirty="0"/>
              <a:t>other use cases and capabilities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DAF927-2FE0-08C8-5C76-819C4F021CAC}"/>
              </a:ext>
            </a:extLst>
          </p:cNvPr>
          <p:cNvSpPr txBox="1"/>
          <p:nvPr/>
        </p:nvSpPr>
        <p:spPr>
          <a:xfrm>
            <a:off x="618836" y="1348509"/>
            <a:ext cx="8659294" cy="64396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Step 4: sent the records again to Ollama with an agentic template.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Here we can config an output format, so that the output can be exported in different formats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E.g: </a:t>
            </a:r>
            <a:r>
              <a:rPr lang="en-GB" dirty="0"/>
              <a:t>template = """</a:t>
            </a:r>
            <a:br>
              <a:rPr lang="en-GB" dirty="0"/>
            </a:br>
            <a:r>
              <a:rPr lang="en-GB" dirty="0"/>
              <a:t>    Use the given knowledge-graph to answer the question.</a:t>
            </a:r>
            <a:br>
              <a:rPr lang="en-GB" dirty="0"/>
            </a:br>
            <a:r>
              <a:rPr lang="en-GB" dirty="0"/>
              <a:t>The knowledge-graph contains a CSV formatted text with relevant data.</a:t>
            </a:r>
            <a:br>
              <a:rPr lang="en-GB" dirty="0"/>
            </a:br>
            <a:r>
              <a:rPr lang="en-GB" dirty="0"/>
              <a:t>If you don't know the answer based on given knowledge-graph, just say that you don't know.</a:t>
            </a:r>
            <a:br>
              <a:rPr lang="en-GB" dirty="0"/>
            </a:br>
            <a:r>
              <a:rPr lang="en-GB" dirty="0"/>
              <a:t>---</a:t>
            </a:r>
            <a:br>
              <a:rPr lang="en-GB" dirty="0"/>
            </a:br>
            <a:br>
              <a:rPr lang="en-GB" dirty="0"/>
            </a:br>
            <a:r>
              <a:rPr lang="en-GB" dirty="0"/>
              <a:t>This knowledge-graph contains data about a building management system.</a:t>
            </a:r>
            <a:br>
              <a:rPr lang="en-GB" dirty="0"/>
            </a:br>
            <a:r>
              <a:rPr lang="en-GB" dirty="0"/>
              <a:t>&lt;knowledge-graph&gt;</a:t>
            </a:r>
            <a:br>
              <a:rPr lang="en-GB" dirty="0"/>
            </a:br>
            <a:r>
              <a:rPr lang="en-GB" dirty="0"/>
              <a:t>{</a:t>
            </a:r>
            <a:r>
              <a:rPr lang="en-GB" dirty="0" err="1"/>
              <a:t>knowledgeGraphContext</a:t>
            </a:r>
            <a:r>
              <a:rPr lang="en-GB" dirty="0"/>
              <a:t>}</a:t>
            </a:r>
            <a:br>
              <a:rPr lang="en-GB" dirty="0"/>
            </a:br>
            <a:r>
              <a:rPr lang="en-GB" dirty="0"/>
              <a:t>&lt;knowledge-graph&gt;</a:t>
            </a:r>
            <a:br>
              <a:rPr lang="en-GB" dirty="0"/>
            </a:br>
            <a:br>
              <a:rPr lang="en-GB" dirty="0"/>
            </a:br>
            <a:r>
              <a:rPr lang="en-GB" dirty="0"/>
              <a:t>---</a:t>
            </a:r>
            <a:br>
              <a:rPr lang="en-GB" dirty="0"/>
            </a:br>
            <a:br>
              <a:rPr lang="en-GB" dirty="0"/>
            </a:br>
            <a:r>
              <a:rPr lang="en-GB" dirty="0"/>
              <a:t>&lt;question&gt;</a:t>
            </a:r>
            <a:br>
              <a:rPr lang="en-GB" dirty="0"/>
            </a:br>
            <a:r>
              <a:rPr lang="en-GB" dirty="0"/>
              <a:t>{question}</a:t>
            </a:r>
            <a:br>
              <a:rPr lang="en-GB" dirty="0"/>
            </a:br>
            <a:r>
              <a:rPr lang="en-GB" dirty="0"/>
              <a:t>&lt;question&gt;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11266710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949BF-7E8C-CE7C-957B-BE2811931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AEA63481-96D9-2ED4-D2AA-BE6792D6E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4BB9AF-28B7-878C-DBA9-D86AC027AEA6}"/>
              </a:ext>
            </a:extLst>
          </p:cNvPr>
          <p:cNvSpPr txBox="1"/>
          <p:nvPr/>
        </p:nvSpPr>
        <p:spPr>
          <a:xfrm>
            <a:off x="581891" y="64655"/>
            <a:ext cx="5402505" cy="83601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Step </a:t>
            </a:r>
            <a:r>
              <a:rPr lang="en-US" dirty="0"/>
              <a:t>5: Final response from Rag: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**Device counts by room (sorted by count descending)** 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US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Room      | Device Label   | Count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-----------|----------------|-------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104** | Sensor         | 3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2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101**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Sensor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102**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**Room 201** | </a:t>
            </a:r>
            <a:r>
              <a:rPr lang="en-US" dirty="0" err="1"/>
              <a:t>CircuitBreaker</a:t>
            </a:r>
            <a:r>
              <a:rPr lang="en-US" dirty="0"/>
              <a:t>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Light 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Outlet         | 1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US" dirty="0"/>
              <a:t>|           | Sensor         | 1 |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3688363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11F59-D453-9EA8-09A4-736857F5D3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FF687CD-8B4F-E4E7-C335-4549ACDE26BA}"/>
              </a:ext>
            </a:extLst>
          </p:cNvPr>
          <p:cNvSpPr txBox="1"/>
          <p:nvPr/>
        </p:nvSpPr>
        <p:spPr>
          <a:xfrm>
            <a:off x="590675" y="315993"/>
            <a:ext cx="11010651" cy="28315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pPr marL="457200" indent="-457200">
              <a:buAutoNum type="arabicPeriod"/>
            </a:pPr>
            <a:r>
              <a:rPr lang="en-US" sz="2400" dirty="0">
                <a:latin typeface="EON Brix Sans" panose="020B0500000000000000" pitchFamily="34" charset="77"/>
              </a:rPr>
              <a:t>Generative AI capabilities</a:t>
            </a:r>
          </a:p>
          <a:p>
            <a:pPr marL="457200" indent="-457200">
              <a:buAutoNum type="arabicPeriod"/>
            </a:pPr>
            <a:r>
              <a:rPr lang="en-GB" sz="2400" dirty="0"/>
              <a:t>Implement a real AI assistant using one of the LLM capabilities: RAG (Retrieval-Augmented Generation)</a:t>
            </a:r>
          </a:p>
          <a:p>
            <a:pPr marL="457200" indent="-457200">
              <a:buAutoNum type="arabicPeriod"/>
            </a:pPr>
            <a:r>
              <a:rPr lang="en-US" sz="2400" dirty="0">
                <a:latin typeface="EON Brix Sans" panose="020B0500000000000000" pitchFamily="34" charset="77"/>
              </a:rPr>
              <a:t>Q&amp;A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FD1A110-D2F1-5C7E-C7FC-44C99FE58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23811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B9C696-AD06-4044-D92B-5318F4DE1E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EB668490-856F-8433-132F-45543CBF8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endParaRPr lang="de-DE" dirty="0"/>
          </a:p>
        </p:txBody>
      </p:sp>
      <p:pic>
        <p:nvPicPr>
          <p:cNvPr id="1026" name="Picture 2" descr="That’s All Folks - Bugs Bunny">
            <a:extLst>
              <a:ext uri="{FF2B5EF4-FFF2-40B4-BE49-F238E27FC236}">
                <a16:creationId xmlns:a16="http://schemas.microsoft.com/office/drawing/2014/main" id="{0F34C735-F2E0-E3C6-21D2-9E1A609A62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1308" y="1047709"/>
            <a:ext cx="7075055" cy="5306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12703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C645B-1D19-AF2E-33FB-E7530D7A3D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03DA154F-77A2-26FF-C037-98DF65C656D7}"/>
              </a:ext>
            </a:extLst>
          </p:cNvPr>
          <p:cNvSpPr txBox="1"/>
          <p:nvPr/>
        </p:nvSpPr>
        <p:spPr>
          <a:xfrm>
            <a:off x="2577130" y="-273766"/>
            <a:ext cx="11010651" cy="76328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r>
              <a:rPr lang="en-GB" dirty="0"/>
              <a:t>///////////////one node- discover the network topology</a:t>
            </a:r>
            <a:br>
              <a:rPr lang="en-GB" dirty="0"/>
            </a:br>
            <a:r>
              <a:rPr lang="en-GB" dirty="0"/>
              <a:t>//find connections around one node, by hierarchy level, unidirectional</a:t>
            </a:r>
            <a:br>
              <a:rPr lang="en-GB" dirty="0"/>
            </a:br>
            <a:r>
              <a:rPr lang="en-GB" dirty="0"/>
              <a:t>match path=(</a:t>
            </a:r>
            <a:r>
              <a:rPr lang="en-GB" dirty="0" err="1"/>
              <a:t>b:Building</a:t>
            </a:r>
            <a:r>
              <a:rPr lang="en-GB" dirty="0"/>
              <a:t>)-[*1..3]-(r)  return path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//one </a:t>
            </a:r>
            <a:r>
              <a:rPr lang="en-GB" dirty="0" err="1"/>
              <a:t>node:find</a:t>
            </a:r>
            <a:r>
              <a:rPr lang="en-GB" dirty="0"/>
              <a:t> connections around one node, by hierarchy level, directional</a:t>
            </a:r>
            <a:br>
              <a:rPr lang="en-GB" dirty="0"/>
            </a:br>
            <a:r>
              <a:rPr lang="en-GB" dirty="0"/>
              <a:t>match path=(</a:t>
            </a:r>
            <a:r>
              <a:rPr lang="en-GB" dirty="0" err="1"/>
              <a:t>b:Building</a:t>
            </a:r>
            <a:r>
              <a:rPr lang="en-GB" dirty="0"/>
              <a:t>)-[*1..1]-&gt;(r)  return path</a:t>
            </a:r>
            <a:br>
              <a:rPr lang="en-GB" dirty="0"/>
            </a:br>
            <a:r>
              <a:rPr lang="en-GB" dirty="0"/>
              <a:t>///////////////////////////////////////////////////</a:t>
            </a:r>
            <a:br>
              <a:rPr lang="en-GB" dirty="0"/>
            </a:br>
            <a:br>
              <a:rPr lang="en-GB" dirty="0"/>
            </a:br>
            <a:r>
              <a:rPr lang="en-GB" dirty="0"/>
              <a:t>////////////////two nodes:</a:t>
            </a:r>
            <a:br>
              <a:rPr lang="en-GB" dirty="0"/>
            </a:br>
            <a:r>
              <a:rPr lang="en-GB" dirty="0"/>
              <a:t>//find all connections between 2 nodes</a:t>
            </a:r>
            <a:br>
              <a:rPr lang="en-GB" dirty="0"/>
            </a:br>
            <a:r>
              <a:rPr lang="en-GB" dirty="0"/>
              <a:t>match path=(</a:t>
            </a:r>
            <a:r>
              <a:rPr lang="en-GB" dirty="0" err="1"/>
              <a:t>b:Building</a:t>
            </a:r>
            <a:r>
              <a:rPr lang="en-GB" dirty="0"/>
              <a:t>)-[*1..4]-(</a:t>
            </a:r>
            <a:r>
              <a:rPr lang="en-GB" dirty="0" err="1"/>
              <a:t>r:Room</a:t>
            </a:r>
            <a:r>
              <a:rPr lang="en-GB" dirty="0"/>
              <a:t>)  return path</a:t>
            </a:r>
            <a:br>
              <a:rPr lang="en-GB" dirty="0"/>
            </a:br>
            <a:br>
              <a:rPr lang="en-GB" dirty="0"/>
            </a:br>
            <a:r>
              <a:rPr lang="en-GB" dirty="0"/>
              <a:t>//find shortest path between 2 nodes</a:t>
            </a:r>
            <a:br>
              <a:rPr lang="en-GB" dirty="0"/>
            </a:br>
            <a:r>
              <a:rPr lang="en-GB" dirty="0"/>
              <a:t>match path=</a:t>
            </a:r>
            <a:r>
              <a:rPr lang="en-GB" dirty="0" err="1"/>
              <a:t>shortestPath</a:t>
            </a:r>
            <a:r>
              <a:rPr lang="en-GB" dirty="0"/>
              <a:t>((</a:t>
            </a:r>
            <a:r>
              <a:rPr lang="en-GB" dirty="0" err="1"/>
              <a:t>b:Building</a:t>
            </a:r>
            <a:r>
              <a:rPr lang="en-GB" dirty="0"/>
              <a:t>)-[*1..4]-(</a:t>
            </a:r>
            <a:r>
              <a:rPr lang="en-GB" dirty="0" err="1"/>
              <a:t>r:Room</a:t>
            </a:r>
            <a:r>
              <a:rPr lang="en-GB" dirty="0"/>
              <a:t>))  return path</a:t>
            </a:r>
            <a:br>
              <a:rPr lang="en-GB" dirty="0"/>
            </a:br>
            <a:r>
              <a:rPr lang="en-GB" dirty="0"/>
              <a:t>///////////////////////////////////////////////////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//recommendation system</a:t>
            </a:r>
            <a:br>
              <a:rPr lang="en-GB" dirty="0"/>
            </a:br>
            <a:r>
              <a:rPr lang="en-GB" dirty="0"/>
              <a:t>match</a:t>
            </a:r>
            <a:br>
              <a:rPr lang="en-GB" dirty="0"/>
            </a:br>
            <a:r>
              <a:rPr lang="en-GB" dirty="0"/>
              <a:t>path1=(s1:Sensor{id:"S-Temp-101"})-[:MONITORS]-&gt;(r1:Room)&lt;-[:HAS_ROOM]-(f1:Floor{number:1}),</a:t>
            </a:r>
            <a:br>
              <a:rPr lang="en-GB" dirty="0"/>
            </a:br>
            <a:r>
              <a:rPr lang="en-GB" dirty="0"/>
              <a:t> path2= (s2:Sensor)-[:MONITORS]-&gt;(r2:Room)&lt;-[:HAS_ROOM]-(f1:Floor{number:1})</a:t>
            </a:r>
            <a:br>
              <a:rPr lang="en-GB" dirty="0"/>
            </a:br>
            <a:r>
              <a:rPr lang="en-GB" dirty="0"/>
              <a:t>  return path1,path2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4161A4B4-CD78-1A63-DD45-F50525046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</p:spTree>
    <p:extLst>
      <p:ext uri="{BB962C8B-B14F-4D97-AF65-F5344CB8AC3E}">
        <p14:creationId xmlns:p14="http://schemas.microsoft.com/office/powerpoint/2010/main" val="26352921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0DF607-4FB0-899F-0EC1-5630768EF4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96B7B57-A668-F7A8-C2E0-C38A30A8648E}"/>
              </a:ext>
            </a:extLst>
          </p:cNvPr>
          <p:cNvSpPr txBox="1"/>
          <p:nvPr/>
        </p:nvSpPr>
        <p:spPr>
          <a:xfrm>
            <a:off x="369957" y="1176662"/>
            <a:ext cx="11010651" cy="4585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Tx/>
              <a:buChar char="-"/>
            </a:pPr>
            <a:r>
              <a:rPr lang="en-GB" dirty="0"/>
              <a:t>find shortest path between 2 nodes= can be used for energy load balancing (some users have too much energy, other have none) </a:t>
            </a:r>
            <a:r>
              <a:rPr lang="en-GB" dirty="0" err="1"/>
              <a:t>e.g</a:t>
            </a:r>
            <a:r>
              <a:rPr lang="en-GB" dirty="0"/>
              <a:t>: photovoltaic systems, energy grid, gas grid, etc</a:t>
            </a:r>
            <a:br>
              <a:rPr lang="en-GB" dirty="0"/>
            </a:b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find shortest path between 2 nodes= can be used to find another (near) energy source (node) in case of primary energy source is failing  </a:t>
            </a:r>
            <a:r>
              <a:rPr lang="en-GB" dirty="0" err="1"/>
              <a:t>e.g</a:t>
            </a:r>
            <a:r>
              <a:rPr lang="en-GB" dirty="0"/>
              <a:t>: Miroslava area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//recommendation system= can be used to find alternative energy sources between neighbourhoods </a:t>
            </a:r>
            <a:br>
              <a:rPr lang="en-GB" dirty="0"/>
            </a:br>
            <a:r>
              <a:rPr lang="en-GB" dirty="0"/>
              <a:t>match, can find similar configurations of a device in another location:</a:t>
            </a:r>
          </a:p>
          <a:p>
            <a:r>
              <a:rPr lang="en-GB" dirty="0" err="1"/>
              <a:t>E.g</a:t>
            </a:r>
            <a:r>
              <a:rPr lang="en-GB" dirty="0"/>
              <a:t>:</a:t>
            </a:r>
            <a:br>
              <a:rPr lang="en-GB" dirty="0"/>
            </a:br>
            <a:r>
              <a:rPr lang="en-GB" dirty="0"/>
              <a:t>path1=(s1:Sensor{id:"S-Temp-101"})-[:MONITORS]-&gt;(r1:Room)&lt;-[:HAS_ROOM]-(f1:Floor{number:1}),</a:t>
            </a:r>
            <a:br>
              <a:rPr lang="en-GB" dirty="0"/>
            </a:br>
            <a:r>
              <a:rPr lang="en-GB" dirty="0"/>
              <a:t> path2= (s2:Sensor)-[:MONITORS]-&gt;(r2:Room)&lt;-[:HAS_ROOM]-(f1:Floor{number:1})</a:t>
            </a:r>
            <a:br>
              <a:rPr lang="en-GB" dirty="0"/>
            </a:br>
            <a:r>
              <a:rPr lang="en-GB" dirty="0"/>
              <a:t>  return path1,path2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EAB00EF-BED2-7E1B-9BA8-9D41D3BE7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</p:spTree>
    <p:extLst>
      <p:ext uri="{BB962C8B-B14F-4D97-AF65-F5344CB8AC3E}">
        <p14:creationId xmlns:p14="http://schemas.microsoft.com/office/powerpoint/2010/main" val="24093934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D14162-9D66-BC4E-4EA1-E1313E6B3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7F2503F4-23EB-A40D-A7B6-07D544BEA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4B6373-B082-480F-BD28-649268D96C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00" y="786979"/>
            <a:ext cx="7772400" cy="5284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0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165928-1DB6-5D24-BC15-5FD0E52561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4FD89BF-6CEF-029D-3CF6-4806DEF6D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Neo4J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58E052-0AED-2CA8-0582-8E0F97572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5354" y="1479588"/>
            <a:ext cx="6436422" cy="3898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76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3E2543-00B9-57C0-2F58-1E318651F0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46B9D71A-A014-6007-F792-41CBA6A6E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99" y="504000"/>
            <a:ext cx="11826545" cy="440643"/>
          </a:xfrm>
        </p:spPr>
        <p:txBody>
          <a:bodyPr/>
          <a:lstStyle/>
          <a:p>
            <a:r>
              <a:rPr lang="de-DE" dirty="0" err="1"/>
              <a:t>Ollama</a:t>
            </a:r>
            <a:r>
              <a:rPr lang="de-DE" dirty="0"/>
              <a:t>=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LLM </a:t>
            </a:r>
            <a:r>
              <a:rPr lang="de-DE" dirty="0" err="1"/>
              <a:t>model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(offline </a:t>
            </a:r>
            <a:r>
              <a:rPr lang="de-DE" dirty="0" err="1"/>
              <a:t>mode</a:t>
            </a:r>
            <a:r>
              <a:rPr lang="de-DE" dirty="0"/>
              <a:t>/ </a:t>
            </a:r>
            <a:r>
              <a:rPr lang="de-DE" dirty="0" err="1"/>
              <a:t>no</a:t>
            </a:r>
            <a:r>
              <a:rPr lang="de-DE" dirty="0"/>
              <a:t> Internet </a:t>
            </a:r>
            <a:r>
              <a:rPr lang="de-DE" dirty="0" err="1"/>
              <a:t>needed</a:t>
            </a:r>
            <a:r>
              <a:rPr lang="de-DE" dirty="0"/>
              <a:t>=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privacy</a:t>
            </a:r>
            <a:r>
              <a:rPr lang="de-DE" dirty="0"/>
              <a:t>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A56377-8A5C-6CD3-91CB-B9F516F4E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400" y="1546861"/>
            <a:ext cx="7772400" cy="531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413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F0577-3168-CAD2-0244-4176573F3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147381D-F39E-D82F-E197-24DA07C29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2D8BD-213C-59CA-3AFC-0AE8D95E8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D7A2D0-BCB9-57FA-EEF7-7F862085C0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5614" y="5090183"/>
            <a:ext cx="5436000" cy="235385"/>
          </a:xfrm>
        </p:spPr>
        <p:txBody>
          <a:bodyPr/>
          <a:lstStyle/>
          <a:p>
            <a:r>
              <a:rPr lang="en-US" dirty="0" err="1"/>
              <a:t>alexandru.lungu@eon.com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3D3DFF-03C5-FECA-0CB3-27689CCD20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5614" y="4727009"/>
            <a:ext cx="5436000" cy="302647"/>
          </a:xfrm>
        </p:spPr>
        <p:txBody>
          <a:bodyPr/>
          <a:lstStyle/>
          <a:p>
            <a:r>
              <a:rPr lang="en-US" dirty="0"/>
              <a:t>Alexandru Lungu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E6A17F-3C3B-EEEA-7CC2-7F65AAB32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4"/>
            <a:ext cx="9288001" cy="689469"/>
          </a:xfrm>
        </p:spPr>
        <p:txBody>
          <a:bodyPr/>
          <a:lstStyle/>
          <a:p>
            <a:r>
              <a:rPr lang="en-US" dirty="0"/>
              <a:t>Questions 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B8DBD6-C1C2-582F-66DE-31858AD92D59}"/>
              </a:ext>
            </a:extLst>
          </p:cNvPr>
          <p:cNvSpPr txBox="1"/>
          <p:nvPr/>
        </p:nvSpPr>
        <p:spPr>
          <a:xfrm>
            <a:off x="998483" y="1650124"/>
            <a:ext cx="2165131" cy="38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endParaRPr lang="en-RO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154B75A-4958-55AC-A1A5-27BF875373D3}"/>
              </a:ext>
            </a:extLst>
          </p:cNvPr>
          <p:cNvSpPr txBox="1">
            <a:spLocks/>
          </p:cNvSpPr>
          <p:nvPr/>
        </p:nvSpPr>
        <p:spPr bwMode="gray">
          <a:xfrm>
            <a:off x="6355282" y="1317972"/>
            <a:ext cx="5436000" cy="302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sentation link: https://</a:t>
            </a:r>
            <a:r>
              <a:rPr lang="en-US" dirty="0" err="1"/>
              <a:t>tinyurl.com</a:t>
            </a:r>
            <a:r>
              <a:rPr lang="en-US" dirty="0"/>
              <a:t>/FII-ITIST-2024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BE925B9-195F-0257-1856-66062DBBBD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9076" y="2039007"/>
            <a:ext cx="3804745" cy="3804745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59E8290-7145-30CF-CCE9-D83BFC5C5626}"/>
              </a:ext>
            </a:extLst>
          </p:cNvPr>
          <p:cNvSpPr txBox="1">
            <a:spLocks/>
          </p:cNvSpPr>
          <p:nvPr/>
        </p:nvSpPr>
        <p:spPr bwMode="gray">
          <a:xfrm>
            <a:off x="445614" y="5386095"/>
            <a:ext cx="5436000" cy="235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ttps://</a:t>
            </a:r>
            <a:r>
              <a:rPr lang="en-US" dirty="0" err="1"/>
              <a:t>github.com</a:t>
            </a:r>
            <a:r>
              <a:rPr lang="en-US" dirty="0"/>
              <a:t>/alexlungu10/my-presentations/blob/main</a:t>
            </a:r>
          </a:p>
        </p:txBody>
      </p:sp>
    </p:spTree>
    <p:extLst>
      <p:ext uri="{BB962C8B-B14F-4D97-AF65-F5344CB8AC3E}">
        <p14:creationId xmlns:p14="http://schemas.microsoft.com/office/powerpoint/2010/main" val="38142333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23">
            <a:extLst>
              <a:ext uri="{FF2B5EF4-FFF2-40B4-BE49-F238E27FC236}">
                <a16:creationId xmlns:a16="http://schemas.microsoft.com/office/drawing/2014/main" id="{D529F6EE-C50E-1F33-50B7-0B50F3A299F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r="18750"/>
          <a:stretch>
            <a:fillRect/>
          </a:stretch>
        </p:blipFill>
        <p:spPr>
          <a:xfrm>
            <a:off x="4572000" y="0"/>
            <a:ext cx="7620000" cy="68580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8390FCC-8BFF-57ED-3199-2DABFAB3F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9FD150-3C7B-2A53-5E5D-7362BEB30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D1666BC-D20A-FD40-9D31-D6A6EF8CD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3528000" cy="2243691"/>
          </a:xfrm>
        </p:spPr>
        <p:txBody>
          <a:bodyPr/>
          <a:lstStyle/>
          <a:p>
            <a:r>
              <a:rPr lang="en-US" dirty="0"/>
              <a:t>Thank you for your presenc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C8CDE5-AAA1-8403-A42F-59CCDA25A2F3}"/>
              </a:ext>
            </a:extLst>
          </p:cNvPr>
          <p:cNvSpPr txBox="1">
            <a:spLocks/>
          </p:cNvSpPr>
          <p:nvPr/>
        </p:nvSpPr>
        <p:spPr bwMode="gray">
          <a:xfrm>
            <a:off x="445614" y="5090183"/>
            <a:ext cx="5436000" cy="235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lexandru.lungu@eon.com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8EFBB75-1A79-E8BF-FB43-B212636C3C3E}"/>
              </a:ext>
            </a:extLst>
          </p:cNvPr>
          <p:cNvSpPr txBox="1">
            <a:spLocks/>
          </p:cNvSpPr>
          <p:nvPr/>
        </p:nvSpPr>
        <p:spPr bwMode="gray">
          <a:xfrm>
            <a:off x="445614" y="4727009"/>
            <a:ext cx="5436000" cy="302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lexandru Lungu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B35EDE4-F581-6DC9-09F0-3F9DA84483DB}"/>
              </a:ext>
            </a:extLst>
          </p:cNvPr>
          <p:cNvSpPr txBox="1">
            <a:spLocks/>
          </p:cNvSpPr>
          <p:nvPr/>
        </p:nvSpPr>
        <p:spPr bwMode="gray">
          <a:xfrm>
            <a:off x="6193448" y="1166723"/>
            <a:ext cx="5436000" cy="302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16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017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2400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33550" indent="-215900" algn="l" defTabSz="540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EON Brix Sans" panose="020B0500000000000000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sentation link: https://</a:t>
            </a:r>
            <a:r>
              <a:rPr lang="en-US" dirty="0" err="1"/>
              <a:t>tinyurl.com</a:t>
            </a:r>
            <a:r>
              <a:rPr lang="en-US" dirty="0"/>
              <a:t>/FII-ITIST-2024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4E20E5F-5891-106F-A536-56347679B8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09076" y="2039007"/>
            <a:ext cx="3804745" cy="380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992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78C9AD-9D87-7A8C-8B23-5880A461A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9F0A17A-4A75-1600-E3C0-6D41D2A1306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9EB047A-484B-37E8-C261-A8786E335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A96039-BD4A-C2E2-2EFA-DB7F09C8A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0094AE-ABB5-4493-F2E5-BAB46C87C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448780"/>
            <a:ext cx="11233150" cy="3545586"/>
          </a:xfrm>
        </p:spPr>
        <p:txBody>
          <a:bodyPr>
            <a:normAutofit/>
          </a:bodyPr>
          <a:lstStyle/>
          <a:p>
            <a:r>
              <a:rPr lang="en-US" dirty="0"/>
              <a:t>Thank you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A7BBA41-89F3-059A-DFF2-5621F0205B0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45915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50D0E-7048-0CB4-EB7C-3F2C145546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F3B7833-E352-4ECD-4EFE-4C0ADC2FB0B5}"/>
              </a:ext>
            </a:extLst>
          </p:cNvPr>
          <p:cNvSpPr txBox="1"/>
          <p:nvPr/>
        </p:nvSpPr>
        <p:spPr>
          <a:xfrm>
            <a:off x="590675" y="315993"/>
            <a:ext cx="11010651" cy="17235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563D6ABF-46CE-A0BB-E1F4-7EF51970C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5848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61E92-30F5-D39A-6FE1-AACAAD0DD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AA5A9F-77FF-6472-0CE0-EDCCE7BC8C4A}"/>
              </a:ext>
            </a:extLst>
          </p:cNvPr>
          <p:cNvSpPr txBox="1"/>
          <p:nvPr/>
        </p:nvSpPr>
        <p:spPr>
          <a:xfrm>
            <a:off x="727308" y="4482274"/>
            <a:ext cx="11010651" cy="21852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de-DE" sz="3200" kern="100" dirty="0">
              <a:solidFill>
                <a:srgbClr val="EA1C0A"/>
              </a:solidFill>
              <a:latin typeface="+mj-lt"/>
              <a:ea typeface="+mj-ea"/>
              <a:cs typeface="+mj-cs"/>
            </a:endParaRPr>
          </a:p>
          <a:p>
            <a:endParaRPr lang="en-US" sz="2400" dirty="0">
              <a:latin typeface="EON Brix Sans" panose="020B0500000000000000" pitchFamily="34" charset="77"/>
            </a:endParaRPr>
          </a:p>
          <a:p>
            <a:r>
              <a:rPr lang="en-GB" dirty="0"/>
              <a:t>The Spring AI project aims to streamline the development of applications that incorporate artificial intelligence functionality without unnecessary complexity.</a:t>
            </a:r>
          </a:p>
          <a:p>
            <a:r>
              <a:rPr lang="en-GB" dirty="0"/>
              <a:t>The project draws inspiration from notable Python projects, such as </a:t>
            </a:r>
            <a:r>
              <a:rPr lang="en-GB" dirty="0" err="1"/>
              <a:t>LangChain</a:t>
            </a:r>
            <a:r>
              <a:rPr lang="en-GB" dirty="0"/>
              <a:t>, </a:t>
            </a:r>
            <a:r>
              <a:rPr lang="en-GB" dirty="0" err="1"/>
              <a:t>LlamaIndex</a:t>
            </a:r>
            <a:r>
              <a:rPr lang="en-GB" dirty="0"/>
              <a:t>, Langchain4J</a:t>
            </a:r>
          </a:p>
          <a:p>
            <a:endParaRPr lang="en-US" sz="2400" dirty="0">
              <a:latin typeface="EON Brix Sans" panose="020B0500000000000000" pitchFamily="34" charset="77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2209467-BEE8-9AB0-208B-323B2B3A2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Spring AI (</a:t>
            </a:r>
            <a:r>
              <a:rPr lang="de-DE" dirty="0" err="1"/>
              <a:t>framework</a:t>
            </a:r>
            <a:r>
              <a:rPr lang="de-DE" dirty="0"/>
              <a:t>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F29602-F4AF-3BC3-5BAB-6120C83D59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7246" y="944643"/>
            <a:ext cx="6997700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775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59C90-DBF0-8DFE-CB49-8C5BEB170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E1B36576-E28D-7B1E-1F33-4BB23F22B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Spring AI (</a:t>
            </a:r>
            <a:r>
              <a:rPr lang="de-DE" dirty="0" err="1"/>
              <a:t>framework</a:t>
            </a:r>
            <a:r>
              <a:rPr lang="de-DE" dirty="0"/>
              <a:t>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3B07D2-D242-379B-2CE5-B547014A41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16913"/>
            <a:ext cx="9982200" cy="645261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EE1C2FFC-28F2-5C10-950D-E2582C037E89}"/>
                  </a:ext>
                </a:extLst>
              </p14:cNvPr>
              <p14:cNvContentPartPr/>
              <p14:nvPr/>
            </p14:nvContentPartPr>
            <p14:xfrm>
              <a:off x="2660633" y="5434647"/>
              <a:ext cx="1037520" cy="28800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EE1C2FFC-28F2-5C10-950D-E2582C037E8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651633" y="5426007"/>
                <a:ext cx="1055160" cy="305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33139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8C51D-F74F-7674-0DDD-4FCB32687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FC6F0D97-1174-3F25-EC48-89216997705B}"/>
              </a:ext>
            </a:extLst>
          </p:cNvPr>
          <p:cNvSpPr txBox="1"/>
          <p:nvPr/>
        </p:nvSpPr>
        <p:spPr>
          <a:xfrm>
            <a:off x="590674" y="1539378"/>
            <a:ext cx="11010651" cy="48320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 for all major </a:t>
            </a:r>
            <a:r>
              <a:rPr lang="en-GB" dirty="0">
                <a:hlinkClick r:id="rId3"/>
              </a:rPr>
              <a:t>AI Model providers</a:t>
            </a:r>
            <a:r>
              <a:rPr lang="en-GB" dirty="0"/>
              <a:t> such as Anthropic, OpenAI, Microsoft, Amazon, Google, and </a:t>
            </a:r>
            <a:r>
              <a:rPr lang="en-GB" dirty="0" err="1"/>
              <a:t>Ollama</a:t>
            </a:r>
            <a:r>
              <a:rPr lang="en-GB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ed model types include:</a:t>
            </a:r>
          </a:p>
          <a:p>
            <a:pPr lvl="1"/>
            <a:r>
              <a:rPr lang="en-GB" dirty="0">
                <a:hlinkClick r:id="rId4"/>
              </a:rPr>
              <a:t>Chat Completion</a:t>
            </a:r>
            <a:endParaRPr lang="en-GB" dirty="0"/>
          </a:p>
          <a:p>
            <a:pPr lvl="1"/>
            <a:r>
              <a:rPr lang="en-GB" dirty="0">
                <a:hlinkClick r:id="rId5"/>
              </a:rPr>
              <a:t>Embedding</a:t>
            </a:r>
            <a:endParaRPr lang="en-GB" dirty="0"/>
          </a:p>
          <a:p>
            <a:pPr lvl="1"/>
            <a:r>
              <a:rPr lang="en-GB" dirty="0">
                <a:hlinkClick r:id="rId6"/>
              </a:rPr>
              <a:t>Text to Image</a:t>
            </a:r>
            <a:endParaRPr lang="en-GB" dirty="0"/>
          </a:p>
          <a:p>
            <a:pPr lvl="1"/>
            <a:r>
              <a:rPr lang="en-GB" dirty="0">
                <a:hlinkClick r:id="rId7"/>
              </a:rPr>
              <a:t>Audio Transcription</a:t>
            </a:r>
            <a:endParaRPr lang="en-GB" dirty="0"/>
          </a:p>
          <a:p>
            <a:pPr lvl="1"/>
            <a:r>
              <a:rPr lang="en-GB" dirty="0">
                <a:hlinkClick r:id="rId8"/>
              </a:rPr>
              <a:t>Text to Speech</a:t>
            </a:r>
            <a:endParaRPr lang="en-GB" dirty="0"/>
          </a:p>
          <a:p>
            <a:pPr lvl="1"/>
            <a:r>
              <a:rPr lang="en-GB" dirty="0">
                <a:hlinkClick r:id="rId9"/>
              </a:rPr>
              <a:t>Moderatio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0"/>
              </a:rPr>
              <a:t>Structured Outputs</a:t>
            </a:r>
            <a:r>
              <a:rPr lang="en-GB" dirty="0"/>
              <a:t> - Mapping of AI Model output to POJ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 for all major </a:t>
            </a:r>
            <a:r>
              <a:rPr lang="en-GB" dirty="0">
                <a:hlinkClick r:id="rId11"/>
              </a:rPr>
              <a:t>Vector Database providers</a:t>
            </a:r>
            <a:r>
              <a:rPr lang="en-GB" dirty="0"/>
              <a:t> 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2"/>
              </a:rPr>
              <a:t>Tools/Function Calling</a:t>
            </a:r>
            <a:r>
              <a:rPr lang="en-GB" dirty="0"/>
              <a:t> - Permits the model to request the execution of client-side tools and functions, thereby accessing necessary real-time information as required and taking a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3"/>
              </a:rPr>
              <a:t>Observability</a:t>
            </a:r>
            <a:r>
              <a:rPr lang="en-GB" dirty="0"/>
              <a:t> - Provides insights into AI-related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ocument ingestion </a:t>
            </a:r>
            <a:r>
              <a:rPr lang="en-GB" dirty="0">
                <a:hlinkClick r:id="rId14"/>
              </a:rPr>
              <a:t>ETL framework</a:t>
            </a:r>
            <a:r>
              <a:rPr lang="en-GB" dirty="0"/>
              <a:t> for Data Engineering. (document preprocessor for RA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15"/>
              </a:rPr>
              <a:t>AI Model Evaluation</a:t>
            </a:r>
            <a:r>
              <a:rPr lang="en-GB" dirty="0"/>
              <a:t> - Utilities to help evaluate generated content and protect against hallucinated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 for </a:t>
            </a:r>
            <a:r>
              <a:rPr lang="en-GB" dirty="0">
                <a:hlinkClick r:id="rId16"/>
              </a:rPr>
              <a:t>Chat Conversation Memory</a:t>
            </a:r>
            <a:r>
              <a:rPr lang="en-GB" dirty="0"/>
              <a:t> and RAG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B9E56F8-FCCB-2978-A4EE-1B8D9F86D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Spring AI - </a:t>
            </a:r>
            <a:r>
              <a:rPr lang="de-DE" dirty="0" err="1"/>
              <a:t>capabilit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9456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D1D61-6CB2-06DD-1C99-4DD7D715F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CE8AF512-125B-2769-CE4C-929AAF64B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de-DE" dirty="0"/>
              <a:t>RAG </a:t>
            </a:r>
            <a:r>
              <a:rPr lang="de-DE" dirty="0" err="1"/>
              <a:t>system</a:t>
            </a:r>
            <a:endParaRPr lang="de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929F2C-AC87-AA83-4252-FAEB933032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126" y="155280"/>
            <a:ext cx="11238874" cy="6979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816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50AFFF-73DB-6CF8-6920-98C7BF498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E37DC15-0C72-7FBA-A053-5E88BB1D7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pPr algn="ctr"/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C8900B-5894-61B9-98AF-943A590C7B4F}"/>
              </a:ext>
            </a:extLst>
          </p:cNvPr>
          <p:cNvSpPr txBox="1"/>
          <p:nvPr/>
        </p:nvSpPr>
        <p:spPr>
          <a:xfrm>
            <a:off x="504000" y="1754909"/>
            <a:ext cx="11654281" cy="10699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We want to ask questions to the AI Assistant about a building, and to retrieve information about the infrastructure,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 or the power consumption, or different business usecases. The user can be a technical operator, a manager or a normal user. </a:t>
            </a:r>
          </a:p>
          <a:p>
            <a:pPr algn="l"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The questions will be in natural language.   </a:t>
            </a:r>
          </a:p>
        </p:txBody>
      </p:sp>
    </p:spTree>
    <p:extLst>
      <p:ext uri="{BB962C8B-B14F-4D97-AF65-F5344CB8AC3E}">
        <p14:creationId xmlns:p14="http://schemas.microsoft.com/office/powerpoint/2010/main" val="15027417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F20FB-F3D9-2FE1-C5C4-A025E7E3C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0D8323A-7CB0-5E47-CE0A-12A6B3079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11032218" cy="440643"/>
          </a:xfrm>
        </p:spPr>
        <p:txBody>
          <a:bodyPr/>
          <a:lstStyle/>
          <a:p>
            <a:r>
              <a:rPr lang="de-DE" dirty="0"/>
              <a:t>Neo4J – </a:t>
            </a:r>
            <a:r>
              <a:rPr lang="en-RO" dirty="0"/>
              <a:t>Building model as a knowledge graph (graph database)</a:t>
            </a: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052ED5-FEBA-865B-2834-72D4BA3B1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44643"/>
            <a:ext cx="12191999" cy="698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6681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94C1B0-64AE-AAA2-277E-01BA9C1AB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06A9F872-B257-1A71-C8E7-F418A0CE3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504000"/>
            <a:ext cx="9872452" cy="440643"/>
          </a:xfrm>
        </p:spPr>
        <p:txBody>
          <a:bodyPr/>
          <a:lstStyle/>
          <a:p>
            <a:r>
              <a:rPr lang="en-US" dirty="0" err="1"/>
              <a:t>Ollama</a:t>
            </a:r>
            <a:r>
              <a:rPr lang="en-US" dirty="0"/>
              <a:t> + RAG = AI Assistant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F20DB0-C8C9-4EB9-4A0F-7417D21B894E}"/>
              </a:ext>
            </a:extLst>
          </p:cNvPr>
          <p:cNvSpPr txBox="1"/>
          <p:nvPr/>
        </p:nvSpPr>
        <p:spPr>
          <a:xfrm>
            <a:off x="504000" y="1754909"/>
            <a:ext cx="8691931" cy="37558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RO" dirty="0"/>
              <a:t>Question #1: </a:t>
            </a:r>
            <a:r>
              <a:rPr lang="en-GB" dirty="0"/>
              <a:t>get all the Light devices and display the room, Light type and Light type counter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endParaRPr lang="en-GB" dirty="0"/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Answer: 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     | Light Type  | Light Type Counter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----------|------------|--------------------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101 | LED          | 1                 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104 | LED          | 2                 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102 | LED          | 1                  |</a:t>
            </a:r>
          </a:p>
          <a:p>
            <a:pPr defTabSz="540000">
              <a:lnSpc>
                <a:spcPct val="120000"/>
              </a:lnSpc>
              <a:spcAft>
                <a:spcPts val="400"/>
              </a:spcAft>
            </a:pPr>
            <a:r>
              <a:rPr lang="en-GB" dirty="0"/>
              <a:t>| Room 201 | Fluorescent  | 1                  |</a:t>
            </a:r>
            <a:endParaRPr lang="en-RO" dirty="0"/>
          </a:p>
        </p:txBody>
      </p:sp>
    </p:spTree>
    <p:extLst>
      <p:ext uri="{BB962C8B-B14F-4D97-AF65-F5344CB8AC3E}">
        <p14:creationId xmlns:p14="http://schemas.microsoft.com/office/powerpoint/2010/main" val="2618460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E.ON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.potx" id="{C15D9FDF-0D54-45A2-A2DF-B7A90DF098F0}" vid="{18B97579-6F8D-4C69-BE33-321BB92D3DFE}"/>
    </a:ext>
  </a:extLst>
</a:theme>
</file>

<file path=ppt/theme/theme2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2769179A9DCF409C2A8CB944873DB4" ma:contentTypeVersion="15" ma:contentTypeDescription="Create a new document." ma:contentTypeScope="" ma:versionID="e0dba57bfaab1bf86df6ed3a06d707f0">
  <xsd:schema xmlns:xsd="http://www.w3.org/2001/XMLSchema" xmlns:xs="http://www.w3.org/2001/XMLSchema" xmlns:p="http://schemas.microsoft.com/office/2006/metadata/properties" xmlns:ns2="6bd85ca3-a648-4808-98f4-fd769bced636" xmlns:ns3="873adf82-8543-45de-ab67-3985070cb6ec" targetNamespace="http://schemas.microsoft.com/office/2006/metadata/properties" ma:root="true" ma:fieldsID="a29bffadb33639e433d2583f06272b34" ns2:_="" ns3:_="">
    <xsd:import namespace="6bd85ca3-a648-4808-98f4-fd769bced636"/>
    <xsd:import namespace="873adf82-8543-45de-ab67-3985070cb6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d85ca3-a648-4808-98f4-fd769bced6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36a257fb-28f5-49c4-92c3-d49665e8e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3adf82-8543-45de-ab67-3985070cb6e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87ed3949-2294-4e6c-8376-851c85d44729}" ma:internalName="TaxCatchAll" ma:showField="CatchAllData" ma:web="873adf82-8543-45de-ab67-3985070cb6e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bd85ca3-a648-4808-98f4-fd769bced636">
      <Terms xmlns="http://schemas.microsoft.com/office/infopath/2007/PartnerControls"/>
    </lcf76f155ced4ddcb4097134ff3c332f>
    <TaxCatchAll xmlns="873adf82-8543-45de-ab67-3985070cb6ec" xsi:nil="true"/>
    <SharedWithUsers xmlns="873adf82-8543-45de-ab67-3985070cb6ec">
      <UserInfo>
        <DisplayName>Sebastian Emmel (Peter Schmidt Group)</DisplayName>
        <AccountId>20</AccountId>
        <AccountType/>
      </UserInfo>
      <UserInfo>
        <DisplayName>Fabio Prata (Peter Schmidt Group)</DisplayName>
        <AccountId>28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B65A98-60CA-46C1-B5DE-18B7AF6F00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d85ca3-a648-4808-98f4-fd769bced636"/>
    <ds:schemaRef ds:uri="873adf82-8543-45de-ab67-3985070cb6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BB9F5CF-2DCE-49DD-AA36-81101D395492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6bd85ca3-a648-4808-98f4-fd769bced636"/>
    <ds:schemaRef ds:uri="873adf82-8543-45de-ab67-3985070cb6ec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9575DA2-38B3-4D6C-BE45-A5618476C89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 (1)</Template>
  <TotalTime>830</TotalTime>
  <Words>2234</Words>
  <Application>Microsoft Macintosh PowerPoint</Application>
  <PresentationFormat>Widescreen</PresentationFormat>
  <Paragraphs>162</Paragraphs>
  <Slides>29</Slides>
  <Notes>25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3" baseType="lpstr">
      <vt:lpstr>EON Brix Sans</vt:lpstr>
      <vt:lpstr>Arial</vt:lpstr>
      <vt:lpstr>EON Office Head</vt:lpstr>
      <vt:lpstr>E.ON</vt:lpstr>
      <vt:lpstr>Build your first AI Assistant using generative AI</vt:lpstr>
      <vt:lpstr>Agenda</vt:lpstr>
      <vt:lpstr>Spring AI (framework)</vt:lpstr>
      <vt:lpstr>Spring AI (framework)</vt:lpstr>
      <vt:lpstr>Spring AI - capabilities</vt:lpstr>
      <vt:lpstr>RAG system</vt:lpstr>
      <vt:lpstr>Ollama + RAG = AI Assistant</vt:lpstr>
      <vt:lpstr>Neo4J – Building model as a knowledge graph (graph database)</vt:lpstr>
      <vt:lpstr>Ollama + RAG = AI Assistant</vt:lpstr>
      <vt:lpstr>Ollama + RAG = AI Assistant</vt:lpstr>
      <vt:lpstr>Ollama + RAG = AI Assistant</vt:lpstr>
      <vt:lpstr>Ollama + RAG = AI Assistant</vt:lpstr>
      <vt:lpstr>Ollama + RAG = AI Assistant – how it works?</vt:lpstr>
      <vt:lpstr>Ollama + RAG = AI Assistant – how it works?</vt:lpstr>
      <vt:lpstr>Ollama + RAG = AI Assistant – how it works?</vt:lpstr>
      <vt:lpstr>Ollama + RAG = AI Assistant – how it works?</vt:lpstr>
      <vt:lpstr>Ollama + RAG = AI Assistant – how it works?</vt:lpstr>
      <vt:lpstr>Neo4J - other use cases and capabilities</vt:lpstr>
      <vt:lpstr>PowerPoint Presentation</vt:lpstr>
      <vt:lpstr>PowerPoint Presentation</vt:lpstr>
      <vt:lpstr>Neo4J</vt:lpstr>
      <vt:lpstr>Neo4J</vt:lpstr>
      <vt:lpstr>Neo4J</vt:lpstr>
      <vt:lpstr>Neo4J</vt:lpstr>
      <vt:lpstr>Ollama= download free LLM models  (offline mode/ no Internet needed= full privacy)</vt:lpstr>
      <vt:lpstr>Questions ?</vt:lpstr>
      <vt:lpstr>Thank you for your presence.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in two lines</dc:title>
  <dc:creator>CRETU-MIHAILESCU, ALEXANDRA-GEORGIA</dc:creator>
  <cp:lastModifiedBy>Lungu, Alexandru</cp:lastModifiedBy>
  <cp:revision>45</cp:revision>
  <dcterms:created xsi:type="dcterms:W3CDTF">2024-07-16T09:57:50Z</dcterms:created>
  <dcterms:modified xsi:type="dcterms:W3CDTF">2025-10-07T15:2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2769179A9DCF409C2A8CB944873DB4</vt:lpwstr>
  </property>
  <property fmtid="{D5CDD505-2E9C-101B-9397-08002B2CF9AE}" pid="3" name="MediaServiceImageTags">
    <vt:lpwstr/>
  </property>
</Properties>
</file>